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4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theme/theme5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theme/theme6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theme/theme7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theme/theme8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theme/theme9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theme/theme10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theme/theme11.xml" ContentType="application/vnd.openxmlformats-officedocument.them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heme/theme12.xml" ContentType="application/vnd.openxmlformats-officedocument.theme+xml"/>
  <Override PartName="/ppt/theme/theme13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1.xml" ContentType="application/vnd.openxmlformats-officedocument.presentationml.notesSl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2.xml" ContentType="application/vnd.openxmlformats-officedocument.presentationml.notesSlide+xml"/>
  <Override PartName="/ppt/tags/tag57.xml" ContentType="application/vnd.openxmlformats-officedocument.presentationml.tags+xml"/>
  <Override PartName="/ppt/notesSlides/notesSlide3.xml" ContentType="application/vnd.openxmlformats-officedocument.presentationml.notesSlide+xml"/>
  <Override PartName="/ppt/tags/tag58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59.xml" ContentType="application/vnd.openxmlformats-officedocument.presentationml.tags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817" r:id="rId4"/>
    <p:sldMasterId id="2147483850" r:id="rId5"/>
    <p:sldMasterId id="2147483907" r:id="rId6"/>
    <p:sldMasterId id="2147483941" r:id="rId7"/>
    <p:sldMasterId id="2147483975" r:id="rId8"/>
    <p:sldMasterId id="2147484009" r:id="rId9"/>
    <p:sldMasterId id="2147484043" r:id="rId10"/>
    <p:sldMasterId id="2147484077" r:id="rId11"/>
    <p:sldMasterId id="2147484112" r:id="rId12"/>
    <p:sldMasterId id="2147484146" r:id="rId13"/>
    <p:sldMasterId id="2147484180" r:id="rId14"/>
  </p:sldMasterIdLst>
  <p:notesMasterIdLst>
    <p:notesMasterId r:id="rId26"/>
  </p:notesMasterIdLst>
  <p:handoutMasterIdLst>
    <p:handoutMasterId r:id="rId27"/>
  </p:handoutMasterIdLst>
  <p:sldIdLst>
    <p:sldId id="282" r:id="rId15"/>
    <p:sldId id="325" r:id="rId16"/>
    <p:sldId id="1108" r:id="rId17"/>
    <p:sldId id="1089" r:id="rId18"/>
    <p:sldId id="1224" r:id="rId19"/>
    <p:sldId id="1140" r:id="rId20"/>
    <p:sldId id="1148" r:id="rId21"/>
    <p:sldId id="1211" r:id="rId22"/>
    <p:sldId id="1135" r:id="rId23"/>
    <p:sldId id="1138" r:id="rId24"/>
    <p:sldId id="324" r:id="rId25"/>
  </p:sldIdLst>
  <p:sldSz cx="9144000" cy="6858000" type="screen4x3"/>
  <p:notesSz cx="7010400" cy="9296400"/>
  <p:custDataLst>
    <p:tags r:id="rId2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20" userDrawn="1">
          <p15:clr>
            <a:srgbClr val="A4A3A4"/>
          </p15:clr>
        </p15:guide>
        <p15:guide id="2" orient="horz" pos="682">
          <p15:clr>
            <a:srgbClr val="A4A3A4"/>
          </p15:clr>
        </p15:guide>
        <p15:guide id="3" orient="horz" pos="888" userDrawn="1">
          <p15:clr>
            <a:srgbClr val="A4A3A4"/>
          </p15:clr>
        </p15:guide>
        <p15:guide id="4" orient="horz" pos="4008" userDrawn="1">
          <p15:clr>
            <a:srgbClr val="A4A3A4"/>
          </p15:clr>
        </p15:guide>
        <p15:guide id="5" orient="horz" pos="127">
          <p15:clr>
            <a:srgbClr val="A4A3A4"/>
          </p15:clr>
        </p15:guide>
        <p15:guide id="6" orient="horz" pos="4319">
          <p15:clr>
            <a:srgbClr val="A4A3A4"/>
          </p15:clr>
        </p15:guide>
        <p15:guide id="7" orient="horz" pos="3168" userDrawn="1">
          <p15:clr>
            <a:srgbClr val="A4A3A4"/>
          </p15:clr>
        </p15:guide>
        <p15:guide id="8" pos="2886">
          <p15:clr>
            <a:srgbClr val="A4A3A4"/>
          </p15:clr>
        </p15:guide>
        <p15:guide id="9" pos="286">
          <p15:clr>
            <a:srgbClr val="A4A3A4"/>
          </p15:clr>
        </p15:guide>
        <p15:guide id="10" pos="5496" userDrawn="1">
          <p15:clr>
            <a:srgbClr val="A4A3A4"/>
          </p15:clr>
        </p15:guide>
        <p15:guide id="11" pos="2928" userDrawn="1">
          <p15:clr>
            <a:srgbClr val="A4A3A4"/>
          </p15:clr>
        </p15:guide>
        <p15:guide id="12" pos="280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277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600"/>
    <a:srgbClr val="FFF9C8"/>
    <a:srgbClr val="C4C4CD"/>
    <a:srgbClr val="800080"/>
    <a:srgbClr val="007770"/>
    <a:srgbClr val="95B3D7"/>
    <a:srgbClr val="737480"/>
    <a:srgbClr val="808080"/>
    <a:srgbClr val="FFD200"/>
    <a:srgbClr val="2E2E3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449" autoAdjust="0"/>
    <p:restoredTop sz="93817" autoAdjust="0"/>
  </p:normalViewPr>
  <p:slideViewPr>
    <p:cSldViewPr snapToGrid="0" snapToObjects="1" showGuides="1">
      <p:cViewPr varScale="1">
        <p:scale>
          <a:sx n="63" d="100"/>
          <a:sy n="63" d="100"/>
        </p:scale>
        <p:origin x="1508" y="64"/>
      </p:cViewPr>
      <p:guideLst>
        <p:guide orient="horz" pos="720"/>
        <p:guide orient="horz" pos="682"/>
        <p:guide orient="horz" pos="888"/>
        <p:guide orient="horz" pos="4008"/>
        <p:guide orient="horz" pos="127"/>
        <p:guide orient="horz" pos="4319"/>
        <p:guide orient="horz" pos="3168"/>
        <p:guide pos="2886"/>
        <p:guide pos="286"/>
        <p:guide pos="5496"/>
        <p:guide pos="2928"/>
        <p:guide pos="2808"/>
      </p:guideLst>
    </p:cSldViewPr>
  </p:slideViewPr>
  <p:outlineViewPr>
    <p:cViewPr>
      <p:scale>
        <a:sx n="33" d="100"/>
        <a:sy n="33" d="100"/>
      </p:scale>
      <p:origin x="0" y="-63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>
        <p:scale>
          <a:sx n="200" d="100"/>
          <a:sy n="200" d="100"/>
        </p:scale>
        <p:origin x="2940" y="-1944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7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0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tags" Target="tags/tag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8.xml"/><Relationship Id="rId27" Type="http://schemas.openxmlformats.org/officeDocument/2006/relationships/handoutMaster" Target="handoutMasters/handoutMaster1.xml"/><Relationship Id="rId30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DD7BBE1-4ACC-4E9C-96DE-F038BBF65754}" type="doc">
      <dgm:prSet loTypeId="urn:microsoft.com/office/officeart/2005/8/layout/default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874DC52C-65D1-4375-8BB3-3188046D22E4}">
      <dgm:prSet phldrT="[Text]" custT="1"/>
      <dgm:spPr>
        <a:solidFill>
          <a:srgbClr val="FFE800"/>
        </a:solidFill>
        <a:ln w="12700">
          <a:solidFill>
            <a:schemeClr val="bg2">
              <a:lumMod val="50000"/>
              <a:lumOff val="50000"/>
            </a:schemeClr>
          </a:solidFill>
          <a:prstDash val="dash"/>
          <a:miter lim="800000"/>
          <a:headEnd/>
          <a:tailEnd/>
        </a:ln>
        <a:effectLst/>
      </dgm:spPr>
      <dgm:t>
        <a:bodyPr vert="horz" wrap="square" lIns="144000" tIns="45720" rIns="91440" bIns="45720" anchor="ctr"/>
        <a:lstStyle/>
        <a:p>
          <a:pPr rtl="0"/>
          <a:r>
            <a:rPr lang="ru-RU" sz="1500" b="0" kern="1200" baseline="0" dirty="0">
              <a:solidFill>
                <a:srgbClr val="2E2E38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Отмена раздельного налогового учета между </a:t>
          </a:r>
          <a:r>
            <a:rPr lang="ru-RU" sz="1500" kern="0" dirty="0">
              <a:solidFill>
                <a:schemeClr val="bg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контрактами</a:t>
          </a:r>
          <a:endParaRPr lang="en-US" sz="1500" kern="0" dirty="0">
            <a:solidFill>
              <a:schemeClr val="bg2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D3FFEE53-39EF-4B47-B0C4-96B8062AC838}" type="parTrans" cxnId="{1D8777CA-DF7D-4796-9334-6B14E17D31D9}">
      <dgm:prSet/>
      <dgm:spPr/>
      <dgm:t>
        <a:bodyPr/>
        <a:lstStyle/>
        <a:p>
          <a:endParaRPr lang="en-US"/>
        </a:p>
      </dgm:t>
    </dgm:pt>
    <dgm:pt modelId="{750A92F1-A837-45B6-BFAB-6213F2C3518B}" type="sibTrans" cxnId="{1D8777CA-DF7D-4796-9334-6B14E17D31D9}">
      <dgm:prSet/>
      <dgm:spPr/>
      <dgm:t>
        <a:bodyPr/>
        <a:lstStyle/>
        <a:p>
          <a:endParaRPr lang="en-US"/>
        </a:p>
      </dgm:t>
    </dgm:pt>
    <dgm:pt modelId="{81B8656D-AFF1-490E-BAEB-759175C8A306}">
      <dgm:prSet phldrT="[Text]" custT="1"/>
      <dgm:spPr>
        <a:solidFill>
          <a:srgbClr val="FFE800"/>
        </a:solidFill>
        <a:ln w="12700">
          <a:solidFill>
            <a:schemeClr val="bg2">
              <a:lumMod val="50000"/>
              <a:lumOff val="50000"/>
            </a:schemeClr>
          </a:solidFill>
          <a:prstDash val="dash"/>
          <a:miter lim="800000"/>
          <a:headEnd/>
          <a:tailEnd/>
        </a:ln>
        <a:effectLst/>
      </dgm:spPr>
      <dgm:t>
        <a:bodyPr spcFirstLastPara="0" vert="horz" wrap="square" lIns="144000" tIns="45720" rIns="91440" bIns="45720" numCol="1" spcCol="1270" anchor="ctr" anchorCtr="0"/>
        <a:lstStyle/>
        <a:p>
          <a:pPr marL="0" lvl="0" indent="0" algn="ctr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500" kern="1200" dirty="0">
              <a:solidFill>
                <a:srgbClr val="2E2E38"/>
              </a:solidFill>
              <a:latin typeface="Arial" panose="020B0604020202020204" pitchFamily="34" charset="0"/>
              <a:cs typeface="Arial" panose="020B0604020202020204" pitchFamily="34" charset="0"/>
            </a:rPr>
            <a:t>Налоговые преференции в виде освобождения от уплаты налогов на определенный срок</a:t>
          </a:r>
          <a:endParaRPr lang="ru-RU" sz="1500" kern="0" dirty="0">
            <a:solidFill>
              <a:srgbClr val="FF0000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608A9EB1-8B78-4D41-95BC-18F32E5479C9}" type="parTrans" cxnId="{0FF0F587-A48A-4077-A618-86A2A21B0296}">
      <dgm:prSet/>
      <dgm:spPr/>
      <dgm:t>
        <a:bodyPr/>
        <a:lstStyle/>
        <a:p>
          <a:endParaRPr lang="en-US"/>
        </a:p>
      </dgm:t>
    </dgm:pt>
    <dgm:pt modelId="{16917B0A-6593-4694-9B77-D7E0D11E11E8}" type="sibTrans" cxnId="{0FF0F587-A48A-4077-A618-86A2A21B0296}">
      <dgm:prSet/>
      <dgm:spPr/>
      <dgm:t>
        <a:bodyPr/>
        <a:lstStyle/>
        <a:p>
          <a:endParaRPr lang="en-US"/>
        </a:p>
      </dgm:t>
    </dgm:pt>
    <dgm:pt modelId="{22EBD8A5-8C6D-465F-8260-56502F67B149}">
      <dgm:prSet custT="1"/>
      <dgm:spPr>
        <a:solidFill>
          <a:srgbClr val="FFE800"/>
        </a:solidFill>
        <a:ln w="12700">
          <a:solidFill>
            <a:schemeClr val="bg2">
              <a:lumMod val="50000"/>
              <a:lumOff val="50000"/>
            </a:schemeClr>
          </a:solidFill>
          <a:prstDash val="dash"/>
          <a:miter lim="800000"/>
          <a:headEnd/>
          <a:tailEnd/>
        </a:ln>
        <a:effectLst/>
      </dgm:spPr>
      <dgm:t>
        <a:bodyPr spcFirstLastPara="0" vert="horz" wrap="square" lIns="144000" tIns="45720" rIns="91440" bIns="45720" numCol="1" spcCol="1270" anchor="ctr" anchorCtr="0"/>
        <a:lstStyle/>
        <a:p>
          <a:pPr marL="0" lvl="0" indent="0" algn="ctr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500" b="0" kern="1200" baseline="0" dirty="0">
              <a:solidFill>
                <a:srgbClr val="2E2E38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Вычет </a:t>
          </a:r>
          <a:r>
            <a:rPr lang="ru-RU" sz="1500" kern="0" dirty="0">
              <a:solidFill>
                <a:schemeClr val="bg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геологоразведочных</a:t>
          </a:r>
          <a:r>
            <a:rPr lang="ru-RU" sz="1500" b="0" kern="1200" baseline="0" dirty="0">
              <a:solidFill>
                <a:srgbClr val="2E2E38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 расходов в размере 100%</a:t>
          </a:r>
          <a:endParaRPr lang="en-US" sz="1500" b="0" kern="1200" baseline="0" dirty="0">
            <a:solidFill>
              <a:srgbClr val="2E2E38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686C9B94-7BC0-4A66-85AD-0E0FB448AD53}" type="parTrans" cxnId="{A2FB9484-F800-481C-A96F-CED1B571E0C8}">
      <dgm:prSet/>
      <dgm:spPr/>
      <dgm:t>
        <a:bodyPr/>
        <a:lstStyle/>
        <a:p>
          <a:endParaRPr lang="en-US"/>
        </a:p>
      </dgm:t>
    </dgm:pt>
    <dgm:pt modelId="{F6A6F8F5-FD8B-40AA-9703-B8ED03E3A71A}" type="sibTrans" cxnId="{A2FB9484-F800-481C-A96F-CED1B571E0C8}">
      <dgm:prSet/>
      <dgm:spPr/>
      <dgm:t>
        <a:bodyPr/>
        <a:lstStyle/>
        <a:p>
          <a:endParaRPr lang="en-US"/>
        </a:p>
      </dgm:t>
    </dgm:pt>
    <dgm:pt modelId="{CFA7945C-1899-46C8-B01C-FE9485F0CFD8}" type="pres">
      <dgm:prSet presAssocID="{ADD7BBE1-4ACC-4E9C-96DE-F038BBF65754}" presName="diagram" presStyleCnt="0">
        <dgm:presLayoutVars>
          <dgm:dir/>
          <dgm:resizeHandles val="exact"/>
        </dgm:presLayoutVars>
      </dgm:prSet>
      <dgm:spPr/>
    </dgm:pt>
    <dgm:pt modelId="{A62696E9-FC54-4FA2-A26F-4B883135143A}" type="pres">
      <dgm:prSet presAssocID="{874DC52C-65D1-4375-8BB3-3188046D22E4}" presName="node" presStyleLbl="node1" presStyleIdx="0" presStyleCnt="3" custScaleX="145618" custScaleY="72809" custLinFactNeighborX="22" custLinFactNeighborY="34754">
        <dgm:presLayoutVars>
          <dgm:bulletEnabled val="1"/>
        </dgm:presLayoutVars>
      </dgm:prSet>
      <dgm:spPr>
        <a:xfrm>
          <a:off x="840" y="678188"/>
          <a:ext cx="2815284" cy="844585"/>
        </a:xfrm>
        <a:prstGeom prst="roundRect">
          <a:avLst/>
        </a:prstGeom>
      </dgm:spPr>
    </dgm:pt>
    <dgm:pt modelId="{2FD8C906-877A-41D2-BC0B-A95CEDE2840C}" type="pres">
      <dgm:prSet presAssocID="{750A92F1-A837-45B6-BFAB-6213F2C3518B}" presName="sibTrans" presStyleCnt="0"/>
      <dgm:spPr/>
    </dgm:pt>
    <dgm:pt modelId="{A1A7A864-449E-4A13-BAC6-C44F4927F5AA}" type="pres">
      <dgm:prSet presAssocID="{22EBD8A5-8C6D-465F-8260-56502F67B149}" presName="node" presStyleLbl="node1" presStyleIdx="1" presStyleCnt="3" custScaleX="145618" custScaleY="100650" custLinFactNeighborX="22" custLinFactNeighborY="31874">
        <dgm:presLayoutVars>
          <dgm:bulletEnabled val="1"/>
        </dgm:presLayoutVars>
      </dgm:prSet>
      <dgm:spPr>
        <a:xfrm>
          <a:off x="840" y="1623597"/>
          <a:ext cx="2815284" cy="844585"/>
        </a:xfrm>
        <a:prstGeom prst="roundRect">
          <a:avLst/>
        </a:prstGeom>
      </dgm:spPr>
    </dgm:pt>
    <dgm:pt modelId="{6EC45DB2-E47F-4898-A87A-FCF1722E6B9C}" type="pres">
      <dgm:prSet presAssocID="{F6A6F8F5-FD8B-40AA-9703-B8ED03E3A71A}" presName="sibTrans" presStyleCnt="0"/>
      <dgm:spPr/>
    </dgm:pt>
    <dgm:pt modelId="{71F2BA61-B7D8-4A4F-B3A6-08AC641CC17A}" type="pres">
      <dgm:prSet presAssocID="{81B8656D-AFF1-490E-BAEB-759175C8A306}" presName="node" presStyleLbl="node1" presStyleIdx="2" presStyleCnt="3" custFlipHor="1" custScaleX="145618" custScaleY="72809" custLinFactNeighborX="-22" custLinFactNeighborY="42409">
        <dgm:presLayoutVars>
          <dgm:bulletEnabled val="1"/>
        </dgm:presLayoutVars>
      </dgm:prSet>
      <dgm:spPr>
        <a:xfrm flipH="1">
          <a:off x="840" y="2582021"/>
          <a:ext cx="2815284" cy="844585"/>
        </a:xfrm>
        <a:prstGeom prst="roundRect">
          <a:avLst/>
        </a:prstGeom>
      </dgm:spPr>
    </dgm:pt>
  </dgm:ptLst>
  <dgm:cxnLst>
    <dgm:cxn modelId="{A2FB9484-F800-481C-A96F-CED1B571E0C8}" srcId="{ADD7BBE1-4ACC-4E9C-96DE-F038BBF65754}" destId="{22EBD8A5-8C6D-465F-8260-56502F67B149}" srcOrd="1" destOrd="0" parTransId="{686C9B94-7BC0-4A66-85AD-0E0FB448AD53}" sibTransId="{F6A6F8F5-FD8B-40AA-9703-B8ED03E3A71A}"/>
    <dgm:cxn modelId="{0FF0F587-A48A-4077-A618-86A2A21B0296}" srcId="{ADD7BBE1-4ACC-4E9C-96DE-F038BBF65754}" destId="{81B8656D-AFF1-490E-BAEB-759175C8A306}" srcOrd="2" destOrd="0" parTransId="{608A9EB1-8B78-4D41-95BC-18F32E5479C9}" sibTransId="{16917B0A-6593-4694-9B77-D7E0D11E11E8}"/>
    <dgm:cxn modelId="{431B0C8D-EE3B-4998-9B62-E10AD4DB9A7A}" type="presOf" srcId="{ADD7BBE1-4ACC-4E9C-96DE-F038BBF65754}" destId="{CFA7945C-1899-46C8-B01C-FE9485F0CFD8}" srcOrd="0" destOrd="0" presId="urn:microsoft.com/office/officeart/2005/8/layout/default"/>
    <dgm:cxn modelId="{28687E92-4F3E-4F58-80DD-49EF251A7BC1}" type="presOf" srcId="{874DC52C-65D1-4375-8BB3-3188046D22E4}" destId="{A62696E9-FC54-4FA2-A26F-4B883135143A}" srcOrd="0" destOrd="0" presId="urn:microsoft.com/office/officeart/2005/8/layout/default"/>
    <dgm:cxn modelId="{FFBC65C4-87A2-4C8D-90EC-7EEC4AF4CC1F}" type="presOf" srcId="{81B8656D-AFF1-490E-BAEB-759175C8A306}" destId="{71F2BA61-B7D8-4A4F-B3A6-08AC641CC17A}" srcOrd="0" destOrd="0" presId="urn:microsoft.com/office/officeart/2005/8/layout/default"/>
    <dgm:cxn modelId="{1D8777CA-DF7D-4796-9334-6B14E17D31D9}" srcId="{ADD7BBE1-4ACC-4E9C-96DE-F038BBF65754}" destId="{874DC52C-65D1-4375-8BB3-3188046D22E4}" srcOrd="0" destOrd="0" parTransId="{D3FFEE53-39EF-4B47-B0C4-96B8062AC838}" sibTransId="{750A92F1-A837-45B6-BFAB-6213F2C3518B}"/>
    <dgm:cxn modelId="{03FF1EE1-2A60-417C-B22D-EB2980A92191}" type="presOf" srcId="{22EBD8A5-8C6D-465F-8260-56502F67B149}" destId="{A1A7A864-449E-4A13-BAC6-C44F4927F5AA}" srcOrd="0" destOrd="0" presId="urn:microsoft.com/office/officeart/2005/8/layout/default"/>
    <dgm:cxn modelId="{7849817A-2756-4E13-B9FA-CB6CC0BF46A6}" type="presParOf" srcId="{CFA7945C-1899-46C8-B01C-FE9485F0CFD8}" destId="{A62696E9-FC54-4FA2-A26F-4B883135143A}" srcOrd="0" destOrd="0" presId="urn:microsoft.com/office/officeart/2005/8/layout/default"/>
    <dgm:cxn modelId="{CF8B035A-77B7-44D2-A513-7B035BE4145E}" type="presParOf" srcId="{CFA7945C-1899-46C8-B01C-FE9485F0CFD8}" destId="{2FD8C906-877A-41D2-BC0B-A95CEDE2840C}" srcOrd="1" destOrd="0" presId="urn:microsoft.com/office/officeart/2005/8/layout/default"/>
    <dgm:cxn modelId="{1099A224-925C-4768-9A25-5772DA68D873}" type="presParOf" srcId="{CFA7945C-1899-46C8-B01C-FE9485F0CFD8}" destId="{A1A7A864-449E-4A13-BAC6-C44F4927F5AA}" srcOrd="2" destOrd="0" presId="urn:microsoft.com/office/officeart/2005/8/layout/default"/>
    <dgm:cxn modelId="{4E6EB5DB-16A3-4E31-96F8-CCB46A3F232D}" type="presParOf" srcId="{CFA7945C-1899-46C8-B01C-FE9485F0CFD8}" destId="{6EC45DB2-E47F-4898-A87A-FCF1722E6B9C}" srcOrd="3" destOrd="0" presId="urn:microsoft.com/office/officeart/2005/8/layout/default"/>
    <dgm:cxn modelId="{A81FE094-3630-4C44-88EA-E4EB0B027FFF}" type="presParOf" srcId="{CFA7945C-1899-46C8-B01C-FE9485F0CFD8}" destId="{71F2BA61-B7D8-4A4F-B3A6-08AC641CC17A}" srcOrd="4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DD7BBE1-4ACC-4E9C-96DE-F038BBF65754}" type="doc">
      <dgm:prSet loTypeId="urn:microsoft.com/office/officeart/2005/8/layout/default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7E2B46C4-DE4C-4AF9-A862-87EF79EC361D}">
      <dgm:prSet custT="1"/>
      <dgm:spPr>
        <a:solidFill>
          <a:srgbClr val="FFE800"/>
        </a:solidFill>
        <a:ln w="12700">
          <a:solidFill>
            <a:schemeClr val="bg2">
              <a:lumMod val="50000"/>
              <a:lumOff val="50000"/>
            </a:schemeClr>
          </a:solidFill>
          <a:prstDash val="dash"/>
          <a:miter lim="800000"/>
          <a:headEnd/>
          <a:tailEnd/>
        </a:ln>
        <a:effectLst/>
      </dgm:spPr>
      <dgm:t>
        <a:bodyPr vert="horz" wrap="square" lIns="144000" tIns="45720" rIns="91440" bIns="45720" anchor="ctr"/>
        <a:lstStyle/>
        <a:p>
          <a:pPr marL="0" algn="ctr" defTabSz="914400" rtl="0" eaLnBrk="1" latinLnBrk="0" hangingPunct="1">
            <a:buNone/>
          </a:pPr>
          <a:endParaRPr lang="ru-RU" sz="1500" kern="0" dirty="0">
            <a:solidFill>
              <a:schemeClr val="bg2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  <a:p>
          <a:pPr marL="0" algn="ctr" defTabSz="914400" rtl="0" eaLnBrk="1" latinLnBrk="0" hangingPunct="1">
            <a:buNone/>
          </a:pPr>
          <a:r>
            <a:rPr lang="ru-RU" sz="1500" kern="0" dirty="0">
              <a:solidFill>
                <a:schemeClr val="bg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Пересмотр налогообложения НДПИ</a:t>
          </a:r>
          <a:endParaRPr lang="en-US" sz="1500" kern="0" dirty="0">
            <a:solidFill>
              <a:schemeClr val="bg2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  <a:p>
          <a:pPr marL="0" algn="ctr" defTabSz="914400" rtl="0" eaLnBrk="1" latinLnBrk="0" hangingPunct="1">
            <a:buNone/>
          </a:pPr>
          <a:endParaRPr lang="ru-RU" sz="1500" kern="0" dirty="0">
            <a:solidFill>
              <a:schemeClr val="bg2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865F05CD-6560-4AE0-B4B9-19F04949E532}" type="parTrans" cxnId="{7330FF68-ED5E-4F73-B39C-9160FE419BEC}">
      <dgm:prSet/>
      <dgm:spPr/>
      <dgm:t>
        <a:bodyPr/>
        <a:lstStyle/>
        <a:p>
          <a:endParaRPr lang="en-US"/>
        </a:p>
      </dgm:t>
    </dgm:pt>
    <dgm:pt modelId="{B2E209E9-801E-4DEE-8862-E72ABE324467}" type="sibTrans" cxnId="{7330FF68-ED5E-4F73-B39C-9160FE419BEC}">
      <dgm:prSet/>
      <dgm:spPr/>
      <dgm:t>
        <a:bodyPr/>
        <a:lstStyle/>
        <a:p>
          <a:endParaRPr lang="en-US"/>
        </a:p>
      </dgm:t>
    </dgm:pt>
    <dgm:pt modelId="{DE775466-5E80-4834-86B4-A28A782F2F5A}">
      <dgm:prSet custT="1"/>
      <dgm:spPr>
        <a:solidFill>
          <a:srgbClr val="FFE800"/>
        </a:solidFill>
        <a:ln w="12700">
          <a:solidFill>
            <a:schemeClr val="bg2">
              <a:lumMod val="50000"/>
              <a:lumOff val="50000"/>
            </a:schemeClr>
          </a:solidFill>
          <a:prstDash val="dash"/>
          <a:miter lim="800000"/>
          <a:headEnd/>
          <a:tailEnd/>
        </a:ln>
        <a:effectLst/>
      </dgm:spPr>
      <dgm:t>
        <a:bodyPr spcFirstLastPara="0" vert="horz" wrap="square" lIns="144000" tIns="45720" rIns="91440" bIns="45720" numCol="1" spcCol="1270" anchor="ctr" anchorCtr="0"/>
        <a:lstStyle/>
        <a:p>
          <a:pPr rtl="0">
            <a:buNone/>
          </a:pPr>
          <a:endParaRPr lang="ru-RU" sz="1300" b="0" kern="1200" dirty="0">
            <a:solidFill>
              <a:srgbClr val="2E2E38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  <a:p>
          <a:pPr rtl="0">
            <a:buNone/>
          </a:pPr>
          <a:r>
            <a:rPr lang="ru-RU" sz="1500" b="0" kern="1200" dirty="0">
              <a:solidFill>
                <a:srgbClr val="2E2E38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Возможность использования накопленного НДС в счет уплаты других налогов</a:t>
          </a:r>
          <a:endParaRPr lang="en-US" sz="1500" b="0" kern="1200" dirty="0">
            <a:solidFill>
              <a:srgbClr val="2E2E38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  <a:p>
          <a:pPr rtl="0">
            <a:buNone/>
          </a:pPr>
          <a:endParaRPr lang="ru-RU" sz="1500" kern="0" dirty="0">
            <a:solidFill>
              <a:schemeClr val="bg2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962CB629-D312-4371-BD81-645F87BFF078}" type="parTrans" cxnId="{EA971DD8-272D-49EC-8993-63CAB3FAE7C2}">
      <dgm:prSet/>
      <dgm:spPr/>
      <dgm:t>
        <a:bodyPr/>
        <a:lstStyle/>
        <a:p>
          <a:endParaRPr lang="en-US"/>
        </a:p>
      </dgm:t>
    </dgm:pt>
    <dgm:pt modelId="{B92BEEBF-7BE0-4C5A-B0F5-BFC948CD23C1}" type="sibTrans" cxnId="{EA971DD8-272D-49EC-8993-63CAB3FAE7C2}">
      <dgm:prSet/>
      <dgm:spPr/>
      <dgm:t>
        <a:bodyPr/>
        <a:lstStyle/>
        <a:p>
          <a:endParaRPr lang="en-US"/>
        </a:p>
      </dgm:t>
    </dgm:pt>
    <dgm:pt modelId="{CFA7945C-1899-46C8-B01C-FE9485F0CFD8}" type="pres">
      <dgm:prSet presAssocID="{ADD7BBE1-4ACC-4E9C-96DE-F038BBF65754}" presName="diagram" presStyleCnt="0">
        <dgm:presLayoutVars>
          <dgm:dir/>
          <dgm:resizeHandles val="exact"/>
        </dgm:presLayoutVars>
      </dgm:prSet>
      <dgm:spPr/>
    </dgm:pt>
    <dgm:pt modelId="{E8625740-5419-42B3-ACCD-EAD8DA50FE95}" type="pres">
      <dgm:prSet presAssocID="{7E2B46C4-DE4C-4AF9-A862-87EF79EC361D}" presName="node" presStyleLbl="node1" presStyleIdx="0" presStyleCnt="2" custScaleX="100098" custScaleY="44518" custLinFactNeighborX="98" custLinFactNeighborY="24738">
        <dgm:presLayoutVars>
          <dgm:bulletEnabled val="1"/>
        </dgm:presLayoutVars>
      </dgm:prSet>
      <dgm:spPr>
        <a:xfrm>
          <a:off x="5780" y="968890"/>
          <a:ext cx="2954724" cy="648824"/>
        </a:xfrm>
        <a:prstGeom prst="roundRect">
          <a:avLst/>
        </a:prstGeom>
      </dgm:spPr>
    </dgm:pt>
    <dgm:pt modelId="{A757A441-869F-4B28-AAA7-ECC763477ED7}" type="pres">
      <dgm:prSet presAssocID="{B2E209E9-801E-4DEE-8862-E72ABE324467}" presName="sibTrans" presStyleCnt="0"/>
      <dgm:spPr/>
    </dgm:pt>
    <dgm:pt modelId="{F1983455-A0F8-46FD-B6B0-EB344F7D93E4}" type="pres">
      <dgm:prSet presAssocID="{DE775466-5E80-4834-86B4-A28A782F2F5A}" presName="node" presStyleLbl="node1" presStyleIdx="1" presStyleCnt="2" custScaleX="100196" custScaleY="62641" custLinFactY="-11280" custLinFactNeighborX="-841" custLinFactNeighborY="-100000">
        <dgm:presLayoutVars>
          <dgm:bulletEnabled val="1"/>
        </dgm:presLayoutVars>
      </dgm:prSet>
      <dgm:spPr>
        <a:xfrm>
          <a:off x="2887" y="0"/>
          <a:ext cx="2957617" cy="835923"/>
        </a:xfrm>
        <a:prstGeom prst="roundRect">
          <a:avLst/>
        </a:prstGeom>
      </dgm:spPr>
    </dgm:pt>
  </dgm:ptLst>
  <dgm:cxnLst>
    <dgm:cxn modelId="{C500E921-657B-4E8E-A369-A0F72DB96822}" type="presOf" srcId="{7E2B46C4-DE4C-4AF9-A862-87EF79EC361D}" destId="{E8625740-5419-42B3-ACCD-EAD8DA50FE95}" srcOrd="0" destOrd="0" presId="urn:microsoft.com/office/officeart/2005/8/layout/default"/>
    <dgm:cxn modelId="{7330FF68-ED5E-4F73-B39C-9160FE419BEC}" srcId="{ADD7BBE1-4ACC-4E9C-96DE-F038BBF65754}" destId="{7E2B46C4-DE4C-4AF9-A862-87EF79EC361D}" srcOrd="0" destOrd="0" parTransId="{865F05CD-6560-4AE0-B4B9-19F04949E532}" sibTransId="{B2E209E9-801E-4DEE-8862-E72ABE324467}"/>
    <dgm:cxn modelId="{431B0C8D-EE3B-4998-9B62-E10AD4DB9A7A}" type="presOf" srcId="{ADD7BBE1-4ACC-4E9C-96DE-F038BBF65754}" destId="{CFA7945C-1899-46C8-B01C-FE9485F0CFD8}" srcOrd="0" destOrd="0" presId="urn:microsoft.com/office/officeart/2005/8/layout/default"/>
    <dgm:cxn modelId="{EA971DD8-272D-49EC-8993-63CAB3FAE7C2}" srcId="{ADD7BBE1-4ACC-4E9C-96DE-F038BBF65754}" destId="{DE775466-5E80-4834-86B4-A28A782F2F5A}" srcOrd="1" destOrd="0" parTransId="{962CB629-D312-4371-BD81-645F87BFF078}" sibTransId="{B92BEEBF-7BE0-4C5A-B0F5-BFC948CD23C1}"/>
    <dgm:cxn modelId="{4E0A46F7-B0D3-4D56-AC83-1FDE805B4401}" type="presOf" srcId="{DE775466-5E80-4834-86B4-A28A782F2F5A}" destId="{F1983455-A0F8-46FD-B6B0-EB344F7D93E4}" srcOrd="0" destOrd="0" presId="urn:microsoft.com/office/officeart/2005/8/layout/default"/>
    <dgm:cxn modelId="{C04121B2-76BF-4F17-AB7C-9B6085A69E9E}" type="presParOf" srcId="{CFA7945C-1899-46C8-B01C-FE9485F0CFD8}" destId="{E8625740-5419-42B3-ACCD-EAD8DA50FE95}" srcOrd="0" destOrd="0" presId="urn:microsoft.com/office/officeart/2005/8/layout/default"/>
    <dgm:cxn modelId="{9A1ECFF3-F272-4B01-A497-4A77C004CC15}" type="presParOf" srcId="{CFA7945C-1899-46C8-B01C-FE9485F0CFD8}" destId="{A757A441-869F-4B28-AAA7-ECC763477ED7}" srcOrd="1" destOrd="0" presId="urn:microsoft.com/office/officeart/2005/8/layout/default"/>
    <dgm:cxn modelId="{099D7975-6C40-44CD-8DEE-4A4736E1769D}" type="presParOf" srcId="{CFA7945C-1899-46C8-B01C-FE9485F0CFD8}" destId="{F1983455-A0F8-46FD-B6B0-EB344F7D93E4}" srcOrd="2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62696E9-FC54-4FA2-A26F-4B883135143A}">
      <dsp:nvSpPr>
        <dsp:cNvPr id="0" name=""/>
        <dsp:cNvSpPr/>
      </dsp:nvSpPr>
      <dsp:spPr>
        <a:xfrm>
          <a:off x="840" y="710129"/>
          <a:ext cx="2815284" cy="844585"/>
        </a:xfrm>
        <a:prstGeom prst="roundRect">
          <a:avLst/>
        </a:prstGeom>
        <a:solidFill>
          <a:srgbClr val="FFE800"/>
        </a:solidFill>
        <a:ln w="12700" cap="flat" cmpd="sng" algn="ctr">
          <a:solidFill>
            <a:schemeClr val="bg2">
              <a:lumMod val="50000"/>
              <a:lumOff val="50000"/>
            </a:schemeClr>
          </a:solidFill>
          <a:prstDash val="dash"/>
          <a:miter lim="800000"/>
          <a:headEnd/>
          <a:tailEnd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00" tIns="45720" rIns="91440" bIns="45720" numCol="1" spcCol="1270" anchor="ctr" anchorCtr="0">
          <a:noAutofit/>
        </a:bodyPr>
        <a:lstStyle/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500" b="0" kern="1200" baseline="0" dirty="0">
              <a:solidFill>
                <a:srgbClr val="2E2E38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Отмена раздельного налогового учета между </a:t>
          </a:r>
          <a:r>
            <a:rPr lang="ru-RU" sz="1500" kern="0" dirty="0">
              <a:solidFill>
                <a:schemeClr val="bg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контрактами</a:t>
          </a:r>
          <a:endParaRPr lang="en-US" sz="1500" kern="0" dirty="0">
            <a:solidFill>
              <a:schemeClr val="bg2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42069" y="751358"/>
        <a:ext cx="2732826" cy="762127"/>
      </dsp:txXfrm>
    </dsp:sp>
    <dsp:sp modelId="{A1A7A864-449E-4A13-BAC6-C44F4927F5AA}">
      <dsp:nvSpPr>
        <dsp:cNvPr id="0" name=""/>
        <dsp:cNvSpPr/>
      </dsp:nvSpPr>
      <dsp:spPr>
        <a:xfrm>
          <a:off x="840" y="1714640"/>
          <a:ext cx="2815284" cy="1167541"/>
        </a:xfrm>
        <a:prstGeom prst="roundRect">
          <a:avLst/>
        </a:prstGeom>
        <a:solidFill>
          <a:srgbClr val="FFE800"/>
        </a:solidFill>
        <a:ln w="12700" cap="flat" cmpd="sng" algn="ctr">
          <a:solidFill>
            <a:schemeClr val="bg2">
              <a:lumMod val="50000"/>
              <a:lumOff val="50000"/>
            </a:schemeClr>
          </a:solidFill>
          <a:prstDash val="dash"/>
          <a:miter lim="800000"/>
          <a:headEnd/>
          <a:tailEnd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00" tIns="45720" rIns="91440" bIns="45720" numCol="1" spcCol="1270" anchor="ctr" anchorCtr="0">
          <a:noAutofit/>
        </a:bodyPr>
        <a:lstStyle/>
        <a:p>
          <a:pPr marL="0" lvl="0" indent="0" algn="ctr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500" b="0" kern="1200" baseline="0" dirty="0">
              <a:solidFill>
                <a:srgbClr val="2E2E38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Вычет </a:t>
          </a:r>
          <a:r>
            <a:rPr lang="ru-RU" sz="1500" kern="0" dirty="0">
              <a:solidFill>
                <a:schemeClr val="bg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геологоразведочных</a:t>
          </a:r>
          <a:r>
            <a:rPr lang="ru-RU" sz="1500" b="0" kern="1200" baseline="0" dirty="0">
              <a:solidFill>
                <a:srgbClr val="2E2E38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 расходов в размере 100%</a:t>
          </a:r>
          <a:endParaRPr lang="en-US" sz="1500" b="0" kern="1200" baseline="0" dirty="0">
            <a:solidFill>
              <a:srgbClr val="2E2E38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57835" y="1771635"/>
        <a:ext cx="2701294" cy="1053551"/>
      </dsp:txXfrm>
    </dsp:sp>
    <dsp:sp modelId="{71F2BA61-B7D8-4A4F-B3A6-08AC641CC17A}">
      <dsp:nvSpPr>
        <dsp:cNvPr id="0" name=""/>
        <dsp:cNvSpPr/>
      </dsp:nvSpPr>
      <dsp:spPr>
        <a:xfrm flipH="1">
          <a:off x="0" y="3012758"/>
          <a:ext cx="2815284" cy="844585"/>
        </a:xfrm>
        <a:prstGeom prst="roundRect">
          <a:avLst/>
        </a:prstGeom>
        <a:solidFill>
          <a:srgbClr val="FFE800"/>
        </a:solidFill>
        <a:ln w="12700" cap="flat" cmpd="sng" algn="ctr">
          <a:solidFill>
            <a:schemeClr val="bg2">
              <a:lumMod val="50000"/>
              <a:lumOff val="50000"/>
            </a:schemeClr>
          </a:solidFill>
          <a:prstDash val="dash"/>
          <a:miter lim="800000"/>
          <a:headEnd/>
          <a:tailEnd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00" tIns="45720" rIns="91440" bIns="45720" numCol="1" spcCol="1270" anchor="ctr" anchorCtr="0">
          <a:noAutofit/>
        </a:bodyPr>
        <a:lstStyle/>
        <a:p>
          <a:pPr marL="0" lvl="0" indent="0" algn="ctr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500" kern="1200" dirty="0">
              <a:solidFill>
                <a:srgbClr val="2E2E38"/>
              </a:solidFill>
              <a:latin typeface="Arial" panose="020B0604020202020204" pitchFamily="34" charset="0"/>
              <a:cs typeface="Arial" panose="020B0604020202020204" pitchFamily="34" charset="0"/>
            </a:rPr>
            <a:t>Налоговые преференции в виде освобождения от уплаты налогов на определенный срок</a:t>
          </a:r>
          <a:endParaRPr lang="ru-RU" sz="1500" kern="0" dirty="0">
            <a:solidFill>
              <a:srgbClr val="FF0000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41229" y="3053987"/>
        <a:ext cx="2732826" cy="76212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8625740-5419-42B3-ACCD-EAD8DA50FE95}">
      <dsp:nvSpPr>
        <dsp:cNvPr id="0" name=""/>
        <dsp:cNvSpPr/>
      </dsp:nvSpPr>
      <dsp:spPr>
        <a:xfrm>
          <a:off x="5780" y="1344230"/>
          <a:ext cx="2954724" cy="788457"/>
        </a:xfrm>
        <a:prstGeom prst="roundRect">
          <a:avLst/>
        </a:prstGeom>
        <a:solidFill>
          <a:srgbClr val="FFE800"/>
        </a:solidFill>
        <a:ln w="12700" cap="flat" cmpd="sng" algn="ctr">
          <a:solidFill>
            <a:schemeClr val="bg2">
              <a:lumMod val="50000"/>
              <a:lumOff val="50000"/>
            </a:schemeClr>
          </a:solidFill>
          <a:prstDash val="dash"/>
          <a:miter lim="800000"/>
          <a:headEnd/>
          <a:tailEnd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00" tIns="45720" rIns="91440" bIns="45720" numCol="1" spcCol="1270" anchor="ctr" anchorCtr="0">
          <a:noAutofit/>
        </a:bodyPr>
        <a:lstStyle/>
        <a:p>
          <a:pPr marL="0" lvl="0" indent="0" algn="ctr" defTabSz="914400" rtl="0" eaLnBrk="1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500" kern="0" dirty="0">
            <a:solidFill>
              <a:schemeClr val="bg2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  <a:p>
          <a:pPr marL="0" lvl="0" indent="0" algn="ctr" defTabSz="914400" rtl="0" eaLnBrk="1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500" kern="0" dirty="0">
              <a:solidFill>
                <a:schemeClr val="bg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Пересмотр налогообложения НДПИ</a:t>
          </a:r>
          <a:endParaRPr lang="en-US" sz="1500" kern="0" dirty="0">
            <a:solidFill>
              <a:schemeClr val="bg2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  <a:p>
          <a:pPr marL="0" lvl="0" indent="0" algn="ctr" defTabSz="914400" rtl="0" eaLnBrk="1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500" kern="0" dirty="0">
            <a:solidFill>
              <a:schemeClr val="bg2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44269" y="1382719"/>
        <a:ext cx="2877746" cy="711479"/>
      </dsp:txXfrm>
    </dsp:sp>
    <dsp:sp modelId="{F1983455-A0F8-46FD-B6B0-EB344F7D93E4}">
      <dsp:nvSpPr>
        <dsp:cNvPr id="0" name=""/>
        <dsp:cNvSpPr/>
      </dsp:nvSpPr>
      <dsp:spPr>
        <a:xfrm>
          <a:off x="0" y="18857"/>
          <a:ext cx="2957617" cy="1109434"/>
        </a:xfrm>
        <a:prstGeom prst="roundRect">
          <a:avLst/>
        </a:prstGeom>
        <a:solidFill>
          <a:srgbClr val="FFE800"/>
        </a:solidFill>
        <a:ln w="12700" cap="flat" cmpd="sng" algn="ctr">
          <a:solidFill>
            <a:schemeClr val="bg2">
              <a:lumMod val="50000"/>
              <a:lumOff val="50000"/>
            </a:schemeClr>
          </a:solidFill>
          <a:prstDash val="dash"/>
          <a:miter lim="800000"/>
          <a:headEnd/>
          <a:tailEnd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00" tIns="45720" rIns="91440" bIns="45720" numCol="1" spcCol="1270" anchor="ctr" anchorCtr="0">
          <a:noAutofit/>
        </a:bodyPr>
        <a:lstStyle/>
        <a:p>
          <a:pPr marL="0" lvl="0" indent="0" algn="ctr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300" b="0" kern="1200" dirty="0">
            <a:solidFill>
              <a:srgbClr val="2E2E38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  <a:p>
          <a:pPr marL="0" lvl="0" indent="0" algn="ctr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500" b="0" kern="1200" dirty="0">
              <a:solidFill>
                <a:srgbClr val="2E2E38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Возможность использования накопленного НДС в счет уплаты других налогов</a:t>
          </a:r>
          <a:endParaRPr lang="en-US" sz="1500" b="0" kern="1200" dirty="0">
            <a:solidFill>
              <a:srgbClr val="2E2E38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  <a:p>
          <a:pPr marL="0" lvl="0" indent="0" algn="ctr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500" kern="0" dirty="0">
            <a:solidFill>
              <a:schemeClr val="bg2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54158" y="73015"/>
        <a:ext cx="2849301" cy="100111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2" tIns="46586" rIns="93172" bIns="46586" rtlCol="0"/>
          <a:lstStyle>
            <a:lvl1pPr algn="l">
              <a:defRPr sz="1300"/>
            </a:lvl1pPr>
          </a:lstStyle>
          <a:p>
            <a:endParaRPr lang="en-GB" dirty="0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2" tIns="46586" rIns="93172" bIns="46586" rtlCol="0"/>
          <a:lstStyle>
            <a:lvl1pPr algn="r">
              <a:defRPr sz="1300"/>
            </a:lvl1pPr>
          </a:lstStyle>
          <a:p>
            <a:fld id="{75A85089-C692-4DEA-AC49-04CF34D4FE14}" type="datetimeFigureOut">
              <a:rPr lang="en-GB" smtClean="0">
                <a:latin typeface="Arial" pitchFamily="34" charset="0"/>
              </a:rPr>
              <a:pPr/>
              <a:t>18/10/2021</a:t>
            </a:fld>
            <a:endParaRPr lang="en-GB" dirty="0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2" tIns="46586" rIns="93172" bIns="46586" rtlCol="0" anchor="b"/>
          <a:lstStyle>
            <a:lvl1pPr algn="l">
              <a:defRPr sz="1300"/>
            </a:lvl1pPr>
          </a:lstStyle>
          <a:p>
            <a:endParaRPr lang="en-GB" dirty="0">
              <a:latin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2" tIns="46586" rIns="93172" bIns="46586" rtlCol="0" anchor="b"/>
          <a:lstStyle>
            <a:lvl1pPr algn="r">
              <a:defRPr sz="1300"/>
            </a:lvl1pPr>
          </a:lstStyle>
          <a:p>
            <a:fld id="{D3A5C721-4BB5-4DB6-AD65-4BA2A62B05B6}" type="slidenum">
              <a:rPr lang="en-GB" smtClean="0">
                <a:latin typeface="Arial" pitchFamily="34" charset="0"/>
              </a:rPr>
              <a:pPr/>
              <a:t>‹#›</a:t>
            </a:fld>
            <a:endParaRPr lang="en-GB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16323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2" tIns="46586" rIns="93172" bIns="46586" rtlCol="0"/>
          <a:lstStyle>
            <a:lvl1pPr algn="l">
              <a:defRPr sz="1300">
                <a:latin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2" tIns="46586" rIns="93172" bIns="46586" rtlCol="0"/>
          <a:lstStyle>
            <a:lvl1pPr algn="r">
              <a:defRPr sz="1300">
                <a:latin typeface="Arial" pitchFamily="34" charset="0"/>
              </a:defRPr>
            </a:lvl1pPr>
          </a:lstStyle>
          <a:p>
            <a:fld id="{8045EBA9-A28D-4849-BFEA-AA04F6A21B63}" type="datetimeFigureOut">
              <a:rPr lang="en-GB" smtClean="0"/>
              <a:pPr/>
              <a:t>18/10/2021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8500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2" tIns="46586" rIns="93172" bIns="46586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2" tIns="46586" rIns="93172" bIns="46586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2" tIns="46586" rIns="93172" bIns="46586" rtlCol="0" anchor="b"/>
          <a:lstStyle>
            <a:lvl1pPr algn="l">
              <a:defRPr sz="1300">
                <a:latin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2" tIns="46586" rIns="93172" bIns="46586" rtlCol="0" anchor="b"/>
          <a:lstStyle>
            <a:lvl1pPr algn="r">
              <a:defRPr sz="1300">
                <a:latin typeface="Arial" pitchFamily="34" charset="0"/>
              </a:defRPr>
            </a:lvl1pPr>
          </a:lstStyle>
          <a:p>
            <a:fld id="{5B43D19E-BFDB-4C92-8EDD-32EDDA8F41D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62703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19895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ru-RU" b="1" dirty="0"/>
              <a:t>Геологоразведка</a:t>
            </a:r>
            <a:r>
              <a:rPr lang="ru-RU" dirty="0"/>
              <a:t>:</a:t>
            </a:r>
          </a:p>
          <a:p>
            <a:pPr marL="275434" indent="-275434" defTabSz="881390" fontAlgn="base">
              <a:spcAft>
                <a:spcPts val="578"/>
              </a:spcAft>
              <a:buClr>
                <a:srgbClr val="FFD200"/>
              </a:buClr>
              <a:buSzPct val="70000"/>
              <a:buFont typeface="Arial" panose="020B0604020202020204" pitchFamily="34" charset="0"/>
              <a:buChar char="►"/>
              <a:defRPr/>
            </a:pPr>
            <a:r>
              <a:rPr lang="ru-RU" dirty="0">
                <a:solidFill>
                  <a:srgbClr val="646464"/>
                </a:solidFill>
              </a:rPr>
              <a:t>Истощение запасов  и ресурсов и отсутствие новых проектов</a:t>
            </a:r>
          </a:p>
          <a:p>
            <a:pPr marL="275434" indent="-275434" fontAlgn="base">
              <a:spcAft>
                <a:spcPts val="578"/>
              </a:spcAft>
              <a:buClr>
                <a:srgbClr val="FFD200"/>
              </a:buClr>
              <a:buSzPct val="70000"/>
              <a:buFont typeface="Arial" panose="020B0604020202020204" pitchFamily="34" charset="0"/>
              <a:buChar char="►"/>
              <a:defRPr/>
            </a:pPr>
            <a:r>
              <a:rPr lang="ru-RU" dirty="0">
                <a:solidFill>
                  <a:srgbClr val="646464"/>
                </a:solidFill>
              </a:rPr>
              <a:t>Недостаток инвестиций в геологоразведку и их недостаточная привлекательность для инвесторов</a:t>
            </a:r>
          </a:p>
          <a:p>
            <a:pPr marL="275434" indent="-275434" fontAlgn="base">
              <a:spcAft>
                <a:spcPts val="578"/>
              </a:spcAft>
              <a:buClr>
                <a:srgbClr val="FFD200"/>
              </a:buClr>
              <a:buSzPct val="70000"/>
              <a:buFont typeface="Arial" panose="020B0604020202020204" pitchFamily="34" charset="0"/>
              <a:buChar char="►"/>
              <a:defRPr/>
            </a:pPr>
            <a:r>
              <a:rPr lang="ru-RU" dirty="0">
                <a:solidFill>
                  <a:srgbClr val="646464"/>
                </a:solidFill>
              </a:rPr>
              <a:t>Через 10-12 лет отрасль и государство могут столкнуться с проблемой </a:t>
            </a:r>
            <a:br>
              <a:rPr lang="ru-RU" dirty="0">
                <a:solidFill>
                  <a:srgbClr val="646464"/>
                </a:solidFill>
              </a:rPr>
            </a:br>
            <a:r>
              <a:rPr lang="ru-RU" dirty="0">
                <a:solidFill>
                  <a:srgbClr val="646464"/>
                </a:solidFill>
              </a:rPr>
              <a:t>отсутствия ресурсов для производства золота в РК</a:t>
            </a:r>
          </a:p>
          <a:p>
            <a:endParaRPr lang="ru-RU" dirty="0"/>
          </a:p>
          <a:p>
            <a:r>
              <a:rPr lang="ru-RU" b="1" dirty="0"/>
              <a:t>Добыча</a:t>
            </a:r>
          </a:p>
          <a:p>
            <a:pPr marL="275434" indent="-275434" fontAlgn="base">
              <a:spcAft>
                <a:spcPts val="578"/>
              </a:spcAft>
              <a:buClr>
                <a:srgbClr val="FFD200"/>
              </a:buClr>
              <a:buSzPct val="70000"/>
              <a:buFont typeface="Arial" panose="020B0604020202020204" pitchFamily="34" charset="0"/>
              <a:buChar char="►"/>
              <a:defRPr/>
            </a:pPr>
            <a:r>
              <a:rPr lang="ru-RU" dirty="0">
                <a:solidFill>
                  <a:srgbClr val="646464"/>
                </a:solidFill>
              </a:rPr>
              <a:t>Несбалансированная налоговая нагрузка</a:t>
            </a:r>
          </a:p>
          <a:p>
            <a:pPr marL="275434" indent="-275434" fontAlgn="base">
              <a:spcAft>
                <a:spcPts val="578"/>
              </a:spcAft>
              <a:buClr>
                <a:srgbClr val="FFD200"/>
              </a:buClr>
              <a:buSzPct val="70000"/>
              <a:buFont typeface="Arial" panose="020B0604020202020204" pitchFamily="34" charset="0"/>
              <a:buChar char="►"/>
              <a:defRPr/>
            </a:pPr>
            <a:r>
              <a:rPr lang="ru-RU" dirty="0">
                <a:solidFill>
                  <a:srgbClr val="646464"/>
                </a:solidFill>
              </a:rPr>
              <a:t>Невыгодность инвестирования в геологоразведку для операторов действующих месторождений</a:t>
            </a:r>
          </a:p>
          <a:p>
            <a:pPr marL="275434" indent="-275434" fontAlgn="base">
              <a:spcAft>
                <a:spcPts val="578"/>
              </a:spcAft>
              <a:buClr>
                <a:srgbClr val="FFD200"/>
              </a:buClr>
              <a:buSzPct val="70000"/>
              <a:buFont typeface="Arial" panose="020B0604020202020204" pitchFamily="34" charset="0"/>
              <a:buChar char="►"/>
              <a:defRPr/>
            </a:pPr>
            <a:r>
              <a:rPr lang="ru-RU" dirty="0">
                <a:solidFill>
                  <a:srgbClr val="646464"/>
                </a:solidFill>
              </a:rPr>
              <a:t>Неэффективная система вычетов расходов на НИОКР для налоговых целей</a:t>
            </a:r>
          </a:p>
          <a:p>
            <a:endParaRPr lang="ru-RU" dirty="0"/>
          </a:p>
          <a:p>
            <a:r>
              <a:rPr lang="ru-RU" b="1" dirty="0"/>
              <a:t>Внутренний рынок</a:t>
            </a:r>
          </a:p>
          <a:p>
            <a:pPr marL="275434" indent="-275434" fontAlgn="base">
              <a:lnSpc>
                <a:spcPct val="95000"/>
              </a:lnSpc>
              <a:spcBef>
                <a:spcPct val="20000"/>
              </a:spcBef>
              <a:spcAft>
                <a:spcPts val="578"/>
              </a:spcAft>
              <a:buClr>
                <a:srgbClr val="FFD200"/>
              </a:buClr>
              <a:buSzPct val="70000"/>
              <a:buFont typeface="Arial" panose="020B0604020202020204" pitchFamily="34" charset="0"/>
              <a:buChar char="►"/>
              <a:defRPr/>
            </a:pPr>
            <a:r>
              <a:rPr lang="ru-RU" dirty="0">
                <a:solidFill>
                  <a:srgbClr val="646464"/>
                </a:solidFill>
              </a:rPr>
              <a:t>Риск внезапной остановки отрасли в случае проблем у основного поставщика услуг аффинажа</a:t>
            </a:r>
          </a:p>
          <a:p>
            <a:pPr marL="275434" indent="-275434" fontAlgn="base">
              <a:lnSpc>
                <a:spcPct val="95000"/>
              </a:lnSpc>
              <a:spcBef>
                <a:spcPct val="20000"/>
              </a:spcBef>
              <a:spcAft>
                <a:spcPts val="578"/>
              </a:spcAft>
              <a:buClr>
                <a:srgbClr val="FFD200"/>
              </a:buClr>
              <a:buSzPct val="70000"/>
              <a:buFont typeface="Arial" panose="020B0604020202020204" pitchFamily="34" charset="0"/>
              <a:buChar char="►"/>
              <a:defRPr/>
            </a:pPr>
            <a:r>
              <a:rPr lang="ru-RU" dirty="0">
                <a:solidFill>
                  <a:srgbClr val="646464"/>
                </a:solidFill>
              </a:rPr>
              <a:t>Ограничение экспорта </a:t>
            </a:r>
          </a:p>
          <a:p>
            <a:pPr marL="275434" indent="-275434" fontAlgn="base">
              <a:lnSpc>
                <a:spcPct val="95000"/>
              </a:lnSpc>
              <a:spcBef>
                <a:spcPct val="20000"/>
              </a:spcBef>
              <a:spcAft>
                <a:spcPts val="578"/>
              </a:spcAft>
              <a:buClr>
                <a:srgbClr val="FFD200"/>
              </a:buClr>
              <a:buSzPct val="70000"/>
              <a:buFont typeface="Arial" panose="020B0604020202020204" pitchFamily="34" charset="0"/>
              <a:buChar char="►"/>
              <a:defRPr/>
            </a:pPr>
            <a:r>
              <a:rPr lang="ru-RU" dirty="0" err="1">
                <a:solidFill>
                  <a:srgbClr val="646464"/>
                </a:solidFill>
              </a:rPr>
              <a:t>Нерыночность</a:t>
            </a:r>
            <a:r>
              <a:rPr lang="ru-RU" dirty="0">
                <a:solidFill>
                  <a:srgbClr val="646464"/>
                </a:solidFill>
              </a:rPr>
              <a:t> цены приобретения золота НБРК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65742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160608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881390">
              <a:defRPr/>
            </a:pPr>
            <a:fld id="{5B43D19E-BFDB-4C92-8EDD-32EDDA8F41DF}" type="slidenum">
              <a:rPr lang="en-GB">
                <a:solidFill>
                  <a:prstClr val="black"/>
                </a:solidFill>
              </a:rPr>
              <a:pPr defTabSz="881390">
                <a:defRPr/>
              </a:pPr>
              <a:t>9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60608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881390">
              <a:defRPr/>
            </a:pPr>
            <a:fld id="{5B43D19E-BFDB-4C92-8EDD-32EDDA8F41DF}" type="slidenum">
              <a:rPr lang="en-GB">
                <a:solidFill>
                  <a:prstClr val="black"/>
                </a:solidFill>
              </a:rPr>
              <a:pPr defTabSz="881390">
                <a:defRPr/>
              </a:pPr>
              <a:t>10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5869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3.wmf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3.wmf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6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3.wmf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7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7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7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7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3.wmf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8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8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8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8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3.wmf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9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9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9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9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9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wmf"/><Relationship Id="rId3" Type="http://schemas.openxmlformats.org/officeDocument/2006/relationships/tags" Target="../tags/tag40.xml"/><Relationship Id="rId7" Type="http://schemas.openxmlformats.org/officeDocument/2006/relationships/image" Target="../media/image1.emf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11.jpeg"/><Relationship Id="rId4" Type="http://schemas.openxmlformats.org/officeDocument/2006/relationships/slideMaster" Target="../slideMasters/slideMaster10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0.xml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0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0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wmf"/><Relationship Id="rId3" Type="http://schemas.openxmlformats.org/officeDocument/2006/relationships/tags" Target="../tags/tag44.xml"/><Relationship Id="rId7" Type="http://schemas.openxmlformats.org/officeDocument/2006/relationships/image" Target="../media/image1.emf"/><Relationship Id="rId2" Type="http://schemas.openxmlformats.org/officeDocument/2006/relationships/tags" Target="../tags/tag43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image" Target="../media/image11.jpeg"/><Relationship Id="rId4" Type="http://schemas.openxmlformats.org/officeDocument/2006/relationships/slideMaster" Target="../slideMasters/slideMaster11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wmf"/><Relationship Id="rId3" Type="http://schemas.openxmlformats.org/officeDocument/2006/relationships/tags" Target="../tags/tag7.xml"/><Relationship Id="rId7" Type="http://schemas.openxmlformats.org/officeDocument/2006/relationships/image" Target="../media/image9.jp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1.xml"/></Relationships>
</file>

<file path=ppt/slideLayouts/_rels/slideLayout3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1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1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emf"/><Relationship Id="rId4" Type="http://schemas.openxmlformats.org/officeDocument/2006/relationships/image" Target="../media/image5.w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wmf"/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emf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3.w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3.w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B6661E04-62F9-49DE-9D93-2EA0C4C0A7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0361" y="5340096"/>
            <a:ext cx="987552" cy="1156968"/>
          </a:xfrm>
          <a:prstGeom prst="rect">
            <a:avLst/>
          </a:prstGeom>
        </p:spPr>
      </p:pic>
      <p:sp>
        <p:nvSpPr>
          <p:cNvPr id="16" name="Freeform 5">
            <a:extLst>
              <a:ext uri="{FF2B5EF4-FFF2-40B4-BE49-F238E27FC236}">
                <a16:creationId xmlns:a16="http://schemas.microsoft.com/office/drawing/2014/main" id="{017BE7DF-E067-42BE-86C9-5E49A33A0BAF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70054" y="457199"/>
            <a:ext cx="4507059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8F5BDD25-228C-421A-BA27-E07AC1CA18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6326" y="1476597"/>
            <a:ext cx="3813414" cy="860400"/>
          </a:xfrm>
        </p:spPr>
        <p:txBody>
          <a:bodyPr/>
          <a:lstStyle>
            <a:lvl1pPr>
              <a:defRPr sz="3000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 dirty="0"/>
              <a:t>Title (EY Interstate </a:t>
            </a:r>
            <a:r>
              <a:rPr lang="en-GB"/>
              <a:t>Light 30 </a:t>
            </a:r>
            <a:r>
              <a:rPr lang="en-GB" dirty="0"/>
              <a:t>point)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7BD2205D-98B4-4946-A01D-362BEB8CC27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6327" y="2422864"/>
            <a:ext cx="3813414" cy="64574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600" dirty="0"/>
              <a:t>Subtitle (EY Interstate 16 point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b="1" dirty="0"/>
              <a:t>XX Month 200X (EY Interstate bold 16 point)</a:t>
            </a:r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8536137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1137920"/>
            <a:ext cx="6175841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EAD7805E-FA43-4FE6-B59E-9A440183B7B9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1" y="907750"/>
            <a:ext cx="8258782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D3198B-8C42-45EB-99DF-C3F1A2ABCB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008048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CA3BCBA4-7BAD-4CEB-AEAC-1D296B07F279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5268C3-3843-40FF-9263-125A8E57D4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43DE6C9-5E0D-49AD-8BBE-CFF57149B3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7201" y="6516456"/>
            <a:ext cx="663066" cy="180000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Стр.</a:t>
            </a:r>
            <a:r>
              <a:rPr lang="en-GB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3920360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/>
        </p:nvCxnSpPr>
        <p:spPr>
          <a:xfrm>
            <a:off x="999368" y="5709060"/>
            <a:ext cx="6088405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/>
        </p:nvSpPr>
        <p:spPr>
          <a:xfrm>
            <a:off x="346308" y="5605201"/>
            <a:ext cx="783397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90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9368" y="6019189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99368" y="6216807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0F898568-1B78-454B-9FE7-9E37EEF85A89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70054" y="457199"/>
            <a:ext cx="4507059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C105A121-2DA3-4610-BC32-EBB7F8ABAFD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6326" y="1476597"/>
            <a:ext cx="3813414" cy="860400"/>
          </a:xfrm>
        </p:spPr>
        <p:txBody>
          <a:bodyPr/>
          <a:lstStyle>
            <a:lvl1pPr>
              <a:defRPr sz="3000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/>
              <a:t>Title (EY Interstate Light 30 point)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61BB2EE4-E5D4-4DD9-97C5-CF16A0A2327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6327" y="2422864"/>
            <a:ext cx="3813414" cy="64574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600"/>
              <a:t>Subtitle (EY Interstate 16 point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b="1"/>
              <a:t>XX Month 200X (EY Interstate bold 16 point)</a:t>
            </a:r>
            <a:endParaRPr lang="en-GB" sz="1600"/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403A0AAB-2D99-480E-8BCB-0300B2E4CA7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88" y="5340350"/>
            <a:ext cx="987425" cy="1157288"/>
            <a:chOff x="4857" y="3364"/>
            <a:chExt cx="622" cy="729"/>
          </a:xfrm>
        </p:grpSpPr>
        <p:sp>
          <p:nvSpPr>
            <p:cNvPr id="6" name="AutoShape 3">
              <a:extLst>
                <a:ext uri="{FF2B5EF4-FFF2-40B4-BE49-F238E27FC236}">
                  <a16:creationId xmlns:a16="http://schemas.microsoft.com/office/drawing/2014/main" id="{136D971F-E278-4FE8-BAE4-2AD4D04270F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1954568E-D3F2-4EA1-8901-CBA2FF03DD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E19C9D94-B5B9-4323-A444-83000773662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tx1"/>
                </a:solidFill>
              </a:endParaRPr>
            </a:p>
          </p:txBody>
        </p:sp>
      </p:grp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14F1DE27-AD0C-4A9A-9D8D-4F823ECEAD7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6306" y="5914642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5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619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/>
        </p:nvCxnSpPr>
        <p:spPr>
          <a:xfrm>
            <a:off x="999368" y="5709060"/>
            <a:ext cx="6088405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/>
        </p:nvSpPr>
        <p:spPr>
          <a:xfrm>
            <a:off x="346308" y="5605201"/>
            <a:ext cx="783397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90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6308" y="6019189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6308" y="6216807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sp>
        <p:nvSpPr>
          <p:cNvPr id="18" name="Freeform 5">
            <a:extLst>
              <a:ext uri="{FF2B5EF4-FFF2-40B4-BE49-F238E27FC236}">
                <a16:creationId xmlns:a16="http://schemas.microsoft.com/office/drawing/2014/main" id="{160A7550-5D67-4923-A7BC-21E832215440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70054" y="457199"/>
            <a:ext cx="4507059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D57A982A-5252-472B-BD55-97D51532138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6326" y="1476597"/>
            <a:ext cx="3813414" cy="860400"/>
          </a:xfrm>
        </p:spPr>
        <p:txBody>
          <a:bodyPr/>
          <a:lstStyle>
            <a:lvl1pPr>
              <a:defRPr sz="3000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/>
              <a:t>Title (EY Interstate Light 30 point)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F809C9F7-7674-4F00-8A7B-4EBDB5F94FB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6327" y="2422864"/>
            <a:ext cx="3813414" cy="64574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600"/>
              <a:t>Subtitle (EY Interstate 16 point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b="1"/>
              <a:t>XX Month 200X (EY Interstate bold 16 point)</a:t>
            </a:r>
            <a:endParaRPr lang="en-GB" sz="1600"/>
          </a:p>
        </p:txBody>
      </p:sp>
      <p:grpSp>
        <p:nvGrpSpPr>
          <p:cNvPr id="22" name="Group 4">
            <a:extLst>
              <a:ext uri="{FF2B5EF4-FFF2-40B4-BE49-F238E27FC236}">
                <a16:creationId xmlns:a16="http://schemas.microsoft.com/office/drawing/2014/main" id="{2FBA4DFB-2D74-4887-91FA-9FE36EADD25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88" y="5340350"/>
            <a:ext cx="987425" cy="1157288"/>
            <a:chOff x="4857" y="3364"/>
            <a:chExt cx="622" cy="729"/>
          </a:xfrm>
        </p:grpSpPr>
        <p:sp>
          <p:nvSpPr>
            <p:cNvPr id="23" name="AutoShape 3">
              <a:extLst>
                <a:ext uri="{FF2B5EF4-FFF2-40B4-BE49-F238E27FC236}">
                  <a16:creationId xmlns:a16="http://schemas.microsoft.com/office/drawing/2014/main" id="{B223B0E3-13DC-4092-840F-C19C33D0170D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720F86E7-783D-48A5-9A99-BBE51AD8BB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8EA618E4-F6E6-47C9-85C3-E1EF97EB6DF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5960095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5">
            <a:extLst>
              <a:ext uri="{FF2B5EF4-FFF2-40B4-BE49-F238E27FC236}">
                <a16:creationId xmlns:a16="http://schemas.microsoft.com/office/drawing/2014/main" id="{770C05D4-D8C4-4691-89DC-120E06C0A0E8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70054" y="457199"/>
            <a:ext cx="4507059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750119" y="1677507"/>
            <a:ext cx="3957735" cy="860400"/>
          </a:xfrm>
        </p:spPr>
        <p:txBody>
          <a:bodyPr/>
          <a:lstStyle>
            <a:lvl1pPr>
              <a:defRPr sz="3000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/>
              <a:t>Title (EY Interstate Light 30 point)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50119" y="2685128"/>
            <a:ext cx="3957735" cy="64574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600"/>
              <a:t>Subtitle (EY Interstate 16 point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GB">
                <a:latin typeface="EYInterstate" panose="02000503020000020004" pitchFamily="2" charset="0"/>
              </a:rPr>
              <a:t>XX Month 200X (EY Interstate bold 16 point)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77AB755-0634-43A3-B427-C896D8448ABA}"/>
              </a:ext>
            </a:extLst>
          </p:cNvPr>
          <p:cNvCxnSpPr>
            <a:cxnSpLocks/>
          </p:cNvCxnSpPr>
          <p:nvPr userDrawn="1"/>
        </p:nvCxnSpPr>
        <p:spPr>
          <a:xfrm>
            <a:off x="1333184" y="5691442"/>
            <a:ext cx="5669280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5246095A-D7CE-45C6-8BF9-B5543F78C034}"/>
              </a:ext>
            </a:extLst>
          </p:cNvPr>
          <p:cNvSpPr txBox="1"/>
          <p:nvPr userDrawn="1"/>
        </p:nvSpPr>
        <p:spPr>
          <a:xfrm>
            <a:off x="461984" y="5587582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9D785C9C-C30C-4D97-AE69-8F7DD8E35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184" y="6001571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  <a:latin typeface="EYInterstate Light" panose="02000506000000020004" pitchFamily="2" charset="0"/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E9ED2CF-644F-4B9E-820F-6BF4B84D684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184" y="6199189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rgbClr val="FFD200"/>
                </a:solidFill>
                <a:latin typeface="EYInterstate Light" panose="02000506000000020004" pitchFamily="2" charset="0"/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sp>
        <p:nvSpPr>
          <p:cNvPr id="19" name="Picture Placeholder 19">
            <a:extLst>
              <a:ext uri="{FF2B5EF4-FFF2-40B4-BE49-F238E27FC236}">
                <a16:creationId xmlns:a16="http://schemas.microsoft.com/office/drawing/2014/main" id="{220D652C-43A8-4888-A086-F26EAFCF8D7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983" y="5897024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  <a:latin typeface="EYInterstate Light" panose="02000506000000020004" pitchFamily="2" charset="0"/>
              </a:defRPr>
            </a:lvl1pPr>
          </a:lstStyle>
          <a:p>
            <a:endParaRPr lang="en-GB"/>
          </a:p>
        </p:txBody>
      </p:sp>
      <p:grpSp>
        <p:nvGrpSpPr>
          <p:cNvPr id="20" name="Group 4">
            <a:extLst>
              <a:ext uri="{FF2B5EF4-FFF2-40B4-BE49-F238E27FC236}">
                <a16:creationId xmlns:a16="http://schemas.microsoft.com/office/drawing/2014/main" id="{2FBA4DFB-2D74-4887-91FA-9FE36EADD25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88" y="5340350"/>
            <a:ext cx="987425" cy="1157288"/>
            <a:chOff x="4857" y="3364"/>
            <a:chExt cx="622" cy="729"/>
          </a:xfrm>
        </p:grpSpPr>
        <p:sp>
          <p:nvSpPr>
            <p:cNvPr id="21" name="AutoShape 3">
              <a:extLst>
                <a:ext uri="{FF2B5EF4-FFF2-40B4-BE49-F238E27FC236}">
                  <a16:creationId xmlns:a16="http://schemas.microsoft.com/office/drawing/2014/main" id="{B223B0E3-13DC-4092-840F-C19C33D0170D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720F86E7-783D-48A5-9A99-BBE51AD8BB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8EA618E4-F6E6-47C9-85C3-E1EF97EB6DF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7112066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Picture 118">
            <a:extLst>
              <a:ext uri="{FF2B5EF4-FFF2-40B4-BE49-F238E27FC236}">
                <a16:creationId xmlns:a16="http://schemas.microsoft.com/office/drawing/2014/main" id="{EAA736A0-D2E9-4CA1-BF9F-5E33CF39B8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457200"/>
            <a:ext cx="4654295" cy="3930900"/>
          </a:xfrm>
          <a:prstGeom prst="rect">
            <a:avLst/>
          </a:prstGeom>
        </p:spPr>
      </p:pic>
      <p:grpSp>
        <p:nvGrpSpPr>
          <p:cNvPr id="79" name="Group 4">
            <a:extLst>
              <a:ext uri="{FF2B5EF4-FFF2-40B4-BE49-F238E27FC236}">
                <a16:creationId xmlns:a16="http://schemas.microsoft.com/office/drawing/2014/main" id="{A159D8C9-C19B-4DF7-9C5A-22EDB8A5FB9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88" y="5340350"/>
            <a:ext cx="987425" cy="1157288"/>
            <a:chOff x="4857" y="3364"/>
            <a:chExt cx="622" cy="729"/>
          </a:xfrm>
        </p:grpSpPr>
        <p:sp>
          <p:nvSpPr>
            <p:cNvPr id="80" name="AutoShape 3">
              <a:extLst>
                <a:ext uri="{FF2B5EF4-FFF2-40B4-BE49-F238E27FC236}">
                  <a16:creationId xmlns:a16="http://schemas.microsoft.com/office/drawing/2014/main" id="{D95FB310-FD8D-4315-8C3A-8966DC1515AB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1" name="Freeform 5">
              <a:extLst>
                <a:ext uri="{FF2B5EF4-FFF2-40B4-BE49-F238E27FC236}">
                  <a16:creationId xmlns:a16="http://schemas.microsoft.com/office/drawing/2014/main" id="{B0F72F2B-2B88-4D56-A5C3-5C83787BA0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2" name="Freeform 6">
              <a:extLst>
                <a:ext uri="{FF2B5EF4-FFF2-40B4-BE49-F238E27FC236}">
                  <a16:creationId xmlns:a16="http://schemas.microsoft.com/office/drawing/2014/main" id="{900DB62A-8F2A-4742-9C40-2FC7AA18235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pic>
        <p:nvPicPr>
          <p:cNvPr id="83" name="Picture 82">
            <a:extLst>
              <a:ext uri="{FF2B5EF4-FFF2-40B4-BE49-F238E27FC236}">
                <a16:creationId xmlns:a16="http://schemas.microsoft.com/office/drawing/2014/main" id="{23B9FB7E-B586-4378-AE43-0A9B9CA0B98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5914517"/>
            <a:ext cx="3780000" cy="618750"/>
          </a:xfrm>
          <a:prstGeom prst="rect">
            <a:avLst/>
          </a:prstGeom>
        </p:spPr>
      </p:pic>
      <p:sp>
        <p:nvSpPr>
          <p:cNvPr id="124" name="Subtitle 2">
            <a:extLst>
              <a:ext uri="{FF2B5EF4-FFF2-40B4-BE49-F238E27FC236}">
                <a16:creationId xmlns:a16="http://schemas.microsoft.com/office/drawing/2014/main" id="{DE813F69-7E98-49B9-A563-B5D224235BE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8191" y="2825612"/>
            <a:ext cx="3612689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FFFFFF"/>
                </a:solidFill>
              </a:defRPr>
            </a:lvl2pPr>
            <a:lvl3pPr marL="0" indent="0" algn="l">
              <a:buNone/>
              <a:defRPr sz="1600">
                <a:solidFill>
                  <a:srgbClr val="FFFFFF"/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25" name="Title 1">
            <a:extLst>
              <a:ext uri="{FF2B5EF4-FFF2-40B4-BE49-F238E27FC236}">
                <a16:creationId xmlns:a16="http://schemas.microsoft.com/office/drawing/2014/main" id="{6135F81D-3120-4669-8305-5AB7CAA0504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88191" y="1855166"/>
            <a:ext cx="3612689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435244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5" name="Group 4">
            <a:extLst>
              <a:ext uri="{FF2B5EF4-FFF2-40B4-BE49-F238E27FC236}">
                <a16:creationId xmlns:a16="http://schemas.microsoft.com/office/drawing/2014/main" id="{916D9572-5294-4C0A-83C4-99E45F89495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88" y="5340350"/>
            <a:ext cx="987425" cy="1157288"/>
            <a:chOff x="4857" y="3364"/>
            <a:chExt cx="622" cy="729"/>
          </a:xfrm>
        </p:grpSpPr>
        <p:sp>
          <p:nvSpPr>
            <p:cNvPr id="86" name="AutoShape 3">
              <a:extLst>
                <a:ext uri="{FF2B5EF4-FFF2-40B4-BE49-F238E27FC236}">
                  <a16:creationId xmlns:a16="http://schemas.microsoft.com/office/drawing/2014/main" id="{5667BEF9-3DFA-4239-A852-71BA27EC8E18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7" name="Freeform 5">
              <a:extLst>
                <a:ext uri="{FF2B5EF4-FFF2-40B4-BE49-F238E27FC236}">
                  <a16:creationId xmlns:a16="http://schemas.microsoft.com/office/drawing/2014/main" id="{7E85CBCB-BA9A-4374-A431-F4DC5F8079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8" name="Freeform 6">
              <a:extLst>
                <a:ext uri="{FF2B5EF4-FFF2-40B4-BE49-F238E27FC236}">
                  <a16:creationId xmlns:a16="http://schemas.microsoft.com/office/drawing/2014/main" id="{5C0EF3BA-6104-4E1B-9F18-E642314A9A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pic>
        <p:nvPicPr>
          <p:cNvPr id="89" name="Picture 88">
            <a:extLst>
              <a:ext uri="{FF2B5EF4-FFF2-40B4-BE49-F238E27FC236}">
                <a16:creationId xmlns:a16="http://schemas.microsoft.com/office/drawing/2014/main" id="{BEA87971-BB0B-4ED2-8AC3-71D5B1159A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777240"/>
            <a:ext cx="6753225" cy="3400425"/>
          </a:xfrm>
          <a:prstGeom prst="rect">
            <a:avLst/>
          </a:prstGeom>
        </p:spPr>
      </p:pic>
      <p:sp>
        <p:nvSpPr>
          <p:cNvPr id="90" name="Subtitle 2">
            <a:extLst>
              <a:ext uri="{FF2B5EF4-FFF2-40B4-BE49-F238E27FC236}">
                <a16:creationId xmlns:a16="http://schemas.microsoft.com/office/drawing/2014/main" id="{D57E11BD-E2D9-41B1-9EF5-FF1EA0B8EB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8191" y="3258529"/>
            <a:ext cx="5943432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FFFFFF"/>
                </a:solidFill>
              </a:defRPr>
            </a:lvl2pPr>
            <a:lvl3pPr marL="0" indent="0" algn="l">
              <a:buNone/>
              <a:defRPr sz="1600">
                <a:solidFill>
                  <a:srgbClr val="FFFFFF"/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91" name="Title 1">
            <a:extLst>
              <a:ext uri="{FF2B5EF4-FFF2-40B4-BE49-F238E27FC236}">
                <a16:creationId xmlns:a16="http://schemas.microsoft.com/office/drawing/2014/main" id="{9E850DE9-7D5E-499B-8FA1-4143F639E0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88191" y="2288083"/>
            <a:ext cx="5943432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92" name="Picture 91">
            <a:extLst>
              <a:ext uri="{FF2B5EF4-FFF2-40B4-BE49-F238E27FC236}">
                <a16:creationId xmlns:a16="http://schemas.microsoft.com/office/drawing/2014/main" id="{620AFF6A-D70F-482C-ACA4-D71330481F1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5914517"/>
            <a:ext cx="3780000" cy="61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7784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1137920"/>
            <a:ext cx="82296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8197805-0689-4503-8125-F783F93171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C937CD-48DF-4698-9CBC-3061FB54E2C6}" type="datetime3">
              <a:rPr lang="en-US" smtClean="0"/>
              <a:t>18 October 2021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180DED-A206-48B8-8395-C38D75067D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21560" y="6516456"/>
            <a:ext cx="3695465" cy="1800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584CBDA-5400-4C9D-A814-1CE6E3FD4F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8219538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A80CEA2-D107-4E43-B632-8CAB22A8CA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58DE72-4302-4E82-BD23-C5767C338015}" type="datetime3">
              <a:rPr lang="en-US" smtClean="0"/>
              <a:t>18 October 2021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3FCC4BD-E0C7-4008-8760-F505B7C870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>
                <a:solidFill>
                  <a:srgbClr val="2E2E38"/>
                </a:solidFill>
              </a:rPr>
              <a:t>Анализ вклада отрасли добычи и переработки золота в экономику и социальное развитие Республики Казахстан</a:t>
            </a:r>
            <a:endParaRPr lang="ru-RU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3ED2ADF-C3C7-4D61-8B10-4ED75087C3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9262835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46139" y="1"/>
            <a:ext cx="2997862" cy="615610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558041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1137921"/>
            <a:ext cx="5471882" cy="873760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57201" y="2311401"/>
            <a:ext cx="2683690" cy="3844704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3245392" y="2311402"/>
            <a:ext cx="2683690" cy="1254759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245392" y="4236721"/>
            <a:ext cx="2683690" cy="1944160"/>
          </a:xfrm>
        </p:spPr>
        <p:txBody>
          <a:bodyPr numCol="1"/>
          <a:lstStyle>
            <a:lvl1pPr marL="0" indent="0">
              <a:buNone/>
              <a:defRPr sz="134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5789875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031161-0EF0-4994-BAAC-817AFCD5564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7850834-EF62-42AE-ADA6-39B816F71C24}" type="datetime3">
              <a:rPr lang="en-US" smtClean="0"/>
              <a:t>18 October 2021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4A1A6EA-628B-40CB-AD7E-45CB0B91C2D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099134-47E0-4E77-855E-45C10B9B8B1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3754577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787414" cy="685799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20418" y="294200"/>
            <a:ext cx="6665528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020417" y="1137921"/>
            <a:ext cx="2056091" cy="5018184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293076" y="1137921"/>
            <a:ext cx="2101787" cy="5018184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611431" y="1137922"/>
            <a:ext cx="2075369" cy="2796151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/>
        </p:nvSpPr>
        <p:spPr bwMode="auto">
          <a:xfrm>
            <a:off x="2020418" y="907750"/>
            <a:ext cx="6665528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E1076-97C0-41B2-AAE5-AD919BB2DC2E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9E2BB777-A391-47C6-B03E-31FB0D64E26F}" type="datetime3">
              <a:rPr lang="en-US" smtClean="0"/>
              <a:t>18 October 2021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A40DA20-3A42-4B9D-A853-92BEABFB15B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C6E24F-B7C3-43FD-BF17-E37070A300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5070709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1137920"/>
            <a:ext cx="6175841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95E81C-0962-435D-B7CC-E9E7007F1F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5A4B70-1304-4489-BD71-C9FC709073C6}" type="datetime3">
              <a:rPr lang="en-US" smtClean="0"/>
              <a:t>18 October 2021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CDD1B3-89EC-47BA-A26E-D040220115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9ACB01-FCA5-4FE1-B210-29952B46CA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058201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4463" y="2851522"/>
            <a:ext cx="3334113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699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9" marR="0" lvl="0" indent="-267319" defTabSz="75551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2EF7B21-823B-4C1B-B44E-8C28E4ECCA2C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2008048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83BD18D0-5FE2-4814-A3B1-FF6C29142D67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CE9737-42F0-4F0F-A932-7FE9D402AE1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99A6E3-8A4A-4FC9-88A7-DFA9B43FF9F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457201" y="6516456"/>
            <a:ext cx="663066" cy="180000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Стр.</a:t>
            </a:r>
            <a:r>
              <a:rPr lang="en-GB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0517005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4463" y="2851522"/>
            <a:ext cx="3334113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699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9" marR="0" lvl="0" indent="-267319" defTabSz="75551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ACF31FF-92C4-4CFE-89C8-231A1B4903B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EB417B29-A3BE-4E20-BBD5-E6F57A6248EF}" type="datetime3">
              <a:rPr lang="en-US" smtClean="0"/>
              <a:t>18 October 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B72E31-AECD-4259-BF90-99398FE128B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DE2F2A-9E13-4DC5-89FE-0719F2B171F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0310496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4463" y="2851522"/>
            <a:ext cx="3334113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699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9" marR="0" lvl="0" indent="-267319" defTabSz="75551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B824A25-AAE3-42CE-906A-12D97307C1F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3BEAA33F-526D-4596-8543-F3299C149B20}" type="datetime3">
              <a:rPr lang="en-US" smtClean="0"/>
              <a:t>18 October 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DD7A84-5352-4432-83C2-4B3F3BD889A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5019A7-134D-49ED-8707-807B58B2E5D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5727009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67954" y="0"/>
            <a:ext cx="4476046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7135" y="2578743"/>
            <a:ext cx="3401698" cy="1055708"/>
          </a:xfrm>
        </p:spPr>
        <p:txBody>
          <a:bodyPr/>
          <a:lstStyle>
            <a:lvl1pPr marL="0" indent="0">
              <a:buNone/>
              <a:defRPr sz="2249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77135" y="3840384"/>
            <a:ext cx="3401698" cy="1055708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DA49F8-A774-4DD1-8745-65E01AB0472C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2428CE79-C1B6-449F-B2C2-A1E63F4272AE}" type="datetime3">
              <a:rPr lang="en-US" smtClean="0"/>
              <a:t>18 October 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4C0F4CC-50C9-4C20-A16A-91535919DC9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53C557-8F9C-4613-8095-373D3EE8052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8461771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457200" y="1137921"/>
            <a:ext cx="3716193" cy="4267457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41864" y="3813288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1864" y="4055931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 to go here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89866" y="1137921"/>
            <a:ext cx="409693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89866" y="1635009"/>
            <a:ext cx="4096935" cy="1611554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US"/>
              <a:t>Content EY Interstate Light, 12pt, Lorem ipsum dolor, 12pt, </a:t>
            </a:r>
            <a:r>
              <a:rPr lang="en-US" err="1"/>
              <a:t>Utin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abhorreant</a:t>
            </a:r>
            <a:r>
              <a:rPr lang="en-US"/>
              <a:t> </a:t>
            </a:r>
            <a:r>
              <a:rPr lang="en-US" err="1"/>
              <a:t>sead</a:t>
            </a:r>
            <a:r>
              <a:rPr lang="en-US"/>
              <a:t>. </a:t>
            </a:r>
            <a:r>
              <a:rPr lang="en-US" err="1"/>
              <a:t>Putant</a:t>
            </a:r>
            <a:r>
              <a:rPr lang="en-US"/>
              <a:t> </a:t>
            </a:r>
            <a:r>
              <a:rPr lang="en-US" err="1"/>
              <a:t>probatus</a:t>
            </a:r>
            <a:r>
              <a:rPr lang="en-US"/>
              <a:t> id vis, ad his </a:t>
            </a:r>
            <a:r>
              <a:rPr lang="en-US" err="1"/>
              <a:t>meis</a:t>
            </a:r>
            <a:r>
              <a:rPr lang="en-US"/>
              <a:t> </a:t>
            </a:r>
            <a:r>
              <a:rPr lang="en-US" err="1"/>
              <a:t>habemus</a:t>
            </a:r>
            <a:r>
              <a:rPr lang="en-US"/>
              <a:t> </a:t>
            </a:r>
            <a:r>
              <a:rPr lang="en-US" err="1"/>
              <a:t>repudiare</a:t>
            </a:r>
            <a:r>
              <a:rPr lang="en-US"/>
              <a:t>, has an </a:t>
            </a:r>
            <a:r>
              <a:rPr lang="en-US" err="1"/>
              <a:t>pericula</a:t>
            </a:r>
            <a:r>
              <a:rPr lang="en-US"/>
              <a:t> </a:t>
            </a:r>
            <a:r>
              <a:rPr lang="en-US" err="1"/>
              <a:t>tractato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debitis</a:t>
            </a:r>
            <a:r>
              <a:rPr lang="en-US"/>
              <a:t> </a:t>
            </a:r>
            <a:r>
              <a:rPr lang="en-US" err="1"/>
              <a:t>dissentias</a:t>
            </a:r>
            <a:r>
              <a:rPr lang="en-US"/>
              <a:t> ad. </a:t>
            </a:r>
            <a:r>
              <a:rPr lang="en-US" err="1"/>
              <a:t>Patrioque</a:t>
            </a:r>
            <a:r>
              <a:rPr lang="en-US"/>
              <a:t> </a:t>
            </a:r>
            <a:r>
              <a:rPr lang="en-US" err="1"/>
              <a:t>voluptatum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ex, id </a:t>
            </a:r>
            <a:r>
              <a:rPr lang="en-US" err="1"/>
              <a:t>admodum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17" name="Picture Placeholder 19">
            <a:extLst>
              <a:ext uri="{FF2B5EF4-FFF2-40B4-BE49-F238E27FC236}">
                <a16:creationId xmlns:a16="http://schemas.microsoft.com/office/drawing/2014/main" id="{70E81591-07D5-438D-AAD4-4B9A889F448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589864" y="3578084"/>
            <a:ext cx="777600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5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B440ECC-CB43-49D3-ABF3-A5F4F308E7E2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5031831A-384A-4990-908C-67864FF031E4}" type="datetime3">
              <a:rPr lang="en-US" smtClean="0"/>
              <a:t>18 October 2021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4279E38-5A0D-4584-B4BB-113C1A4C50C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3F8B89-1ED7-4BD8-90B0-47F3DF32AD7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6474811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4">
            <a:extLst>
              <a:ext uri="{FF2B5EF4-FFF2-40B4-BE49-F238E27FC236}">
                <a16:creationId xmlns:a16="http://schemas.microsoft.com/office/drawing/2014/main" id="{54B0064F-CA12-4F8F-B694-23C41AD0F16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284464" y="6327648"/>
            <a:ext cx="402336" cy="412867"/>
            <a:chOff x="7110" y="4004"/>
            <a:chExt cx="191" cy="196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F93F004B-02B9-4455-A020-115CFB37BE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19F4E2CA-BA89-47F8-8C68-7CACFBAF82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32993525-96BF-457D-86C8-A5E217C20B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6" name="Date Placeholder 2">
            <a:extLst>
              <a:ext uri="{FF2B5EF4-FFF2-40B4-BE49-F238E27FC236}">
                <a16:creationId xmlns:a16="http://schemas.microsoft.com/office/drawing/2014/main" id="{D8973D65-036E-4D65-AAA3-1427C4AA0C9B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892301" y="6516456"/>
            <a:ext cx="1191258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F66C6C-DFAF-4B4D-8AAB-4B45D317EF2D}" type="datetime3">
              <a:rPr lang="en-US" smtClean="0"/>
              <a:t>18 October 2021</a:t>
            </a:fld>
            <a:endParaRPr lang="en-US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9711A3A-DB5C-4C5F-BF5A-7DBDD6EFF607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3321561" y="6516456"/>
            <a:ext cx="30861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40A4236-AC64-456A-B3F9-BED41065570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363093" y="6516456"/>
            <a:ext cx="663066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6155088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F607F99-5C2B-4FC6-A3DF-23E011C842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4464" y="6327648"/>
            <a:ext cx="402504" cy="411480"/>
          </a:xfrm>
          <a:prstGeom prst="rect">
            <a:avLst/>
          </a:prstGeom>
        </p:spPr>
      </p:pic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8FBE9395-9BF1-4306-9F29-1F8E92C9F8DB}"/>
              </a:ext>
            </a:extLst>
          </p:cNvPr>
          <p:cNvSpPr txBox="1">
            <a:spLocks/>
          </p:cNvSpPr>
          <p:nvPr userDrawn="1"/>
        </p:nvSpPr>
        <p:spPr>
          <a:xfrm>
            <a:off x="3757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20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87DD12F9-AC78-4784-A2C0-5FB6EC5A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1750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3BB2527F-4DCE-4CB5-A96D-2E432FD5A07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1750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7DFFB3C-E689-440E-8EDB-465853B3460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1750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09667CEE-F273-4416-9D45-A0E825F14911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284464" y="6327648"/>
            <a:ext cx="402336" cy="412867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3F5A26-EE33-4654-ACA2-880B36B275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325D6EF1-9951-4386-9E98-24FDBF5827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572CC147-C47E-4B17-9D76-D39D3C36CE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91062868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BD7B1EAA-D62E-426F-9D29-F674CEB29C3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26000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 algn="ctr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C43D8C34-69FC-4DEE-BC95-D2F629475EB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26000" y="551683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78FCBB-C01D-4FF8-828E-0E27552CA9C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926000" y="582887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0AD41D48-C813-4F78-A2C8-0758D2B7DC18}"/>
              </a:ext>
            </a:extLst>
          </p:cNvPr>
          <p:cNvSpPr txBox="1">
            <a:spLocks/>
          </p:cNvSpPr>
          <p:nvPr userDrawn="1"/>
        </p:nvSpPr>
        <p:spPr>
          <a:xfrm>
            <a:off x="3402806" y="979787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20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FF60CB08-2DD7-4911-8D80-BCAC7944540B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284464" y="6327648"/>
            <a:ext cx="402336" cy="412867"/>
            <a:chOff x="7110" y="4004"/>
            <a:chExt cx="191" cy="196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C7E6D8E8-E311-4EB7-AFAA-50963EA7B1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53EFA7D4-C8AD-4C58-A0EE-C2B700393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E459CDB2-C2F0-4E1A-AC90-F93C856AA5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3873574828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1137920"/>
            <a:ext cx="6175841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67319">
              <a:defRPr>
                <a:solidFill>
                  <a:schemeClr val="bg1"/>
                </a:solidFill>
              </a:defRPr>
            </a:lvl2pPr>
            <a:lvl3pPr marL="534639">
              <a:defRPr>
                <a:solidFill>
                  <a:schemeClr val="bg1"/>
                </a:solidFill>
              </a:defRPr>
            </a:lvl3pPr>
            <a:lvl4pPr marL="801958">
              <a:defRPr>
                <a:solidFill>
                  <a:schemeClr val="bg1"/>
                </a:solidFill>
              </a:defRPr>
            </a:lvl4pPr>
            <a:lvl5pPr marL="1069277"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BF0A34-C36D-461B-A015-21A5DA63B5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236A41-1785-44BF-900F-9D2DB447F677}" type="datetime3">
              <a:rPr lang="en-US" smtClean="0"/>
              <a:t>18 October 2021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ECF0E1-C505-48F8-AD92-7D8685FF48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682A11-B39D-4FE0-A53D-0F1661DE05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7479395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03DAEA1-6A90-4FC2-97C7-E8CE039143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C6345B-E3FB-4A56-8D00-1AE4FCF1E793}" type="datetime3">
              <a:rPr lang="en-US" smtClean="0"/>
              <a:t>18 October 2021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B819100-2154-4CEF-A4AE-869A873311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B93803-CB8A-4830-8E96-5C407868A0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70867486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1" y="1137919"/>
            <a:ext cx="4038600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1" y="1137919"/>
            <a:ext cx="4038600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E1BDE01-7D08-4922-9259-4581BC33C3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2323C-E307-4EE5-8A9D-E9EC748DA04D}" type="datetime3">
              <a:rPr lang="en-US" smtClean="0"/>
              <a:t>18 October 2021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29C6724-47E1-45B5-B455-099BFD53BB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8340A57-5875-43E6-BEEA-8CEBCDCA30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462663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67954" y="0"/>
            <a:ext cx="4476046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7135" y="2578743"/>
            <a:ext cx="3401698" cy="1055708"/>
          </a:xfrm>
        </p:spPr>
        <p:txBody>
          <a:bodyPr/>
          <a:lstStyle>
            <a:lvl1pPr marL="0" indent="0">
              <a:buNone/>
              <a:defRPr sz="2249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77135" y="3840384"/>
            <a:ext cx="3401698" cy="1055708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IN" dirty="0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D2273DE-A8FD-43F9-A3D9-68970B4AF5D1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008048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E7ADBA69-77E5-49DA-93EE-5E8433F4F6DB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02AE062-2E23-4013-8660-9CF8B9A843F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5D2FDE-84B3-4A82-878F-6285E65B163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457201" y="6516456"/>
            <a:ext cx="663066" cy="180000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Стр.</a:t>
            </a:r>
            <a:r>
              <a:rPr lang="en-GB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6752300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9247" y="1869441"/>
            <a:ext cx="4042800" cy="4256075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7304" y="1869441"/>
            <a:ext cx="4042800" cy="4256075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1" y="1137920"/>
            <a:ext cx="40428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47304" y="1137920"/>
            <a:ext cx="40428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FCA5F9A-0842-4BED-A447-9C3F6915DCD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813CE8-84AB-4EEF-A926-35B4A4B10658}" type="datetime3">
              <a:rPr lang="en-US" smtClean="0"/>
              <a:t>18 October 2021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8AD82-A588-4EFB-A956-62AC671AB8A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F77DB56-43F3-4932-8420-FA767EBAB47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7700122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B7547C-9236-44B2-927D-EE1C7DF06D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7A3E23-D61A-4449-9778-CFBDC4E521ED}" type="datetime3">
              <a:rPr lang="en-US" smtClean="0"/>
              <a:t>18 October 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E2AC0F-F4F4-46F1-8E38-470CA2132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B301A4-CE65-4914-B017-DED28C2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9495566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3A9D79-13D5-4189-B325-32C1E30071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3F1880-295A-4EBE-8D82-C76273F363BB}" type="datetime3">
              <a:rPr lang="en-US" smtClean="0"/>
              <a:t>18 October 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690CD3-106E-4E37-A338-7D12BDB87E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97AA2E-8C14-46B6-80A1-837B7775D6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5382771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813CB0-F911-4F63-ADF4-31E748E46E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BC65C1-7BE9-48C0-8823-48F97AF3B153}" type="datetime3">
              <a:rPr lang="en-US" smtClean="0"/>
              <a:t>18 October 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E00D68-E42E-4E18-97BC-09F3CC3C71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09C18C-4659-4936-9B48-47D9169929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651997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1F7CA26-2B7B-4622-93A8-93EC10CCBE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335370-FFB8-4176-99D8-12456834B369}" type="datetime3">
              <a:rPr lang="en-US" smtClean="0"/>
              <a:t>18 October 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0E24E25-AADE-42B5-BB07-A8C5FC7FBF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9B93A4-EF49-4605-8E7D-22AB1304F1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A3678118-FB9F-46C1-A6F2-3E42EC5536B0}"/>
              </a:ext>
            </a:extLst>
          </p:cNvPr>
          <p:cNvSpPr>
            <a:spLocks/>
          </p:cNvSpPr>
          <p:nvPr userDrawn="1"/>
        </p:nvSpPr>
        <p:spPr bwMode="gray">
          <a:xfrm>
            <a:off x="457200" y="1039815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6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1D46014-541B-4C37-8BD9-33F3A3BE76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039659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58AD78-6C49-405F-80BD-8F5F9CFAD7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7721AE-E586-497C-AFF0-B0E525833899}" type="datetime3">
              <a:rPr lang="en-US" smtClean="0"/>
              <a:t>18 October 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A3A6C55-F277-42AF-8500-E16F039B9A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368E36-B58F-4FD6-B92E-04754A1D83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62717139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9144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E480A10-F3A8-4482-9A96-E4A2985059D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6739C988-EF99-4232-9B14-C6D35192529D}" type="datetime3">
              <a:rPr lang="en-US" smtClean="0"/>
              <a:t>18 October 2021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D942338-84D5-44C7-ADEC-04C9C56CF23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AC4917-7B6B-475D-AAE6-8F714438F25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3839694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719139"/>
            <a:ext cx="3506400" cy="5210062"/>
          </a:xfrm>
        </p:spPr>
        <p:txBody>
          <a:bodyPr/>
          <a:lstStyle>
            <a:lvl1pPr marL="0" indent="0" algn="l" defTabSz="746124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9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32089" indent="-13208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41609" indent="-14160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4410244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31872168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67954" y="0"/>
            <a:ext cx="4476046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1936" y="2050889"/>
            <a:ext cx="3401698" cy="1055708"/>
          </a:xfrm>
        </p:spPr>
        <p:txBody>
          <a:bodyPr/>
          <a:lstStyle>
            <a:lvl1pPr marL="0" indent="0">
              <a:buNone/>
              <a:defRPr sz="2249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1936" y="3312530"/>
            <a:ext cx="3401698" cy="1055708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E59B594-94BE-43F4-8A51-56A02D3520A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D14B33B6-2BC3-4C17-84BA-8AE50015D10F}" type="datetime3">
              <a:rPr lang="en-US" smtClean="0"/>
              <a:t>18 October 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3D76FF3-5668-471F-96BC-86222958B48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C144E7-F1A6-43D5-9337-069D87B113F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9329499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457200" y="1137921"/>
            <a:ext cx="3716193" cy="4267457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41864" y="3813288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1864" y="4055931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589864" y="3578084"/>
            <a:ext cx="777600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5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89866" y="1137921"/>
            <a:ext cx="409693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89866" y="1635009"/>
            <a:ext cx="4096935" cy="1611554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US" dirty="0"/>
              <a:t>Content EY Interstate Light, 16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16" name="Line 10">
            <a:extLst>
              <a:ext uri="{FF2B5EF4-FFF2-40B4-BE49-F238E27FC236}">
                <a16:creationId xmlns:a16="http://schemas.microsoft.com/office/drawing/2014/main" id="{C37BF1DE-E4E1-40C4-B510-30A0AC8ABDB8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1" y="907750"/>
            <a:ext cx="8258782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1D44C6-2A68-4AD7-9CC8-54BCF1002719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2008048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08D6B9F4-B2D4-4FD0-B46B-A3E7AF5874DC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2191FF-C540-403B-944B-8EC413F39BA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10440-F38E-4BBB-A6D3-3297528ECAC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457201" y="6516456"/>
            <a:ext cx="663066" cy="180000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Стр.</a:t>
            </a:r>
            <a:r>
              <a:rPr lang="en-GB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3777278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064" y="2504281"/>
            <a:ext cx="3334113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6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9" marR="0" lvl="0" indent="-267319" defTabSz="75551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42413CE-C4D0-4ABD-A496-80941F07BDB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7FEE1940-0E2B-49BA-9716-608E37280F43}" type="datetime3">
              <a:rPr lang="en-US" smtClean="0"/>
              <a:t>18 October 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6AF2A22-94A3-41BF-9F87-44E3FEF33B4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5C79A1-12F2-4F8B-A8F3-F46D58F4CB3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9583187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787414" cy="6857999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20418" y="294200"/>
            <a:ext cx="6665528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020417" y="1137921"/>
            <a:ext cx="2056091" cy="5018184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293076" y="1137921"/>
            <a:ext cx="2101787" cy="5018184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6611431" y="1137922"/>
            <a:ext cx="2075369" cy="2796151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Line 10">
            <a:extLst>
              <a:ext uri="{FF2B5EF4-FFF2-40B4-BE49-F238E27FC236}">
                <a16:creationId xmlns:a16="http://schemas.microsoft.com/office/drawing/2014/main" id="{1FE654FB-261F-44E5-8EF9-237DB835D71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023353" y="907750"/>
            <a:ext cx="669263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3AD698-0E41-4FCF-AB31-51B8D1AE402F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2C774786-0F2B-4775-A1D8-7F88B7D7AC91}" type="datetime3">
              <a:rPr lang="en-US" smtClean="0"/>
              <a:t>18 October 2021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9018413-4A60-4C02-9E4A-E0257623113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74983C1-0EF4-4B2C-97F2-6888EAEE5D8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457201" y="6516456"/>
            <a:ext cx="663066" cy="180000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Стр.</a:t>
            </a:r>
            <a:r>
              <a:rPr lang="en-GB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35923633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9C0DD7D-5B2C-4539-8FE2-07617C2EF1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8000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9C0DD7D-5B2C-4539-8FE2-07617C2EF1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128D225-A95C-4182-BE44-3E9027AF283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ru-RU" sz="3000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945AD81-9D09-493D-94B8-1CAA625F68C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0361" y="5340096"/>
            <a:ext cx="987552" cy="1156968"/>
          </a:xfrm>
          <a:prstGeom prst="rect">
            <a:avLst/>
          </a:prstGeom>
        </p:spPr>
      </p:pic>
      <p:sp>
        <p:nvSpPr>
          <p:cNvPr id="7" name="Freeform 5">
            <a:extLst>
              <a:ext uri="{FF2B5EF4-FFF2-40B4-BE49-F238E27FC236}">
                <a16:creationId xmlns:a16="http://schemas.microsoft.com/office/drawing/2014/main" id="{B7F2A12E-7729-47A0-BC4C-937A569C1503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70054" y="457199"/>
            <a:ext cx="4507059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306FE6B-2888-42EC-9409-22E0C44C3E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6326" y="1476597"/>
            <a:ext cx="4064949" cy="860400"/>
          </a:xfrm>
        </p:spPr>
        <p:txBody>
          <a:bodyPr/>
          <a:lstStyle>
            <a:lvl1pPr>
              <a:defRPr sz="3000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ru-RU"/>
              <a:t>Стимулирование развития золотодобывающей отрасли Казахстана</a:t>
            </a:r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2FC3DF6-2861-4293-9E33-F3E405EF9F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6325" y="3337832"/>
            <a:ext cx="4064949" cy="3912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 b="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ru-RU">
                <a:solidFill>
                  <a:schemeClr val="bg1"/>
                </a:solidFill>
              </a:rPr>
              <a:t>Август, 2020</a:t>
            </a:r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69009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/>
        </p:nvCxnSpPr>
        <p:spPr>
          <a:xfrm>
            <a:off x="999368" y="5709060"/>
            <a:ext cx="6088405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/>
        </p:nvSpPr>
        <p:spPr>
          <a:xfrm>
            <a:off x="346308" y="5605201"/>
            <a:ext cx="783397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90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9368" y="6019189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99368" y="6216807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0F898568-1B78-454B-9FE7-9E37EEF85A89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70054" y="457199"/>
            <a:ext cx="4507059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C105A121-2DA3-4610-BC32-EBB7F8ABAFD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6326" y="1476597"/>
            <a:ext cx="3813414" cy="860400"/>
          </a:xfrm>
        </p:spPr>
        <p:txBody>
          <a:bodyPr/>
          <a:lstStyle>
            <a:lvl1pPr>
              <a:defRPr sz="3000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/>
              <a:t>Title (EY Interstate Light 30 point)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61BB2EE4-E5D4-4DD9-97C5-CF16A0A2327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6327" y="2422864"/>
            <a:ext cx="3813414" cy="64574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600"/>
              <a:t>Subtitle (EY Interstate 16 point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b="1"/>
              <a:t>XX Month 200X (EY Interstate bold 16 point)</a:t>
            </a:r>
            <a:endParaRPr lang="en-GB" sz="1600"/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403A0AAB-2D99-480E-8BCB-0300B2E4CA7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88" y="5340350"/>
            <a:ext cx="987425" cy="1157288"/>
            <a:chOff x="4857" y="3364"/>
            <a:chExt cx="622" cy="729"/>
          </a:xfrm>
        </p:grpSpPr>
        <p:sp>
          <p:nvSpPr>
            <p:cNvPr id="6" name="AutoShape 3">
              <a:extLst>
                <a:ext uri="{FF2B5EF4-FFF2-40B4-BE49-F238E27FC236}">
                  <a16:creationId xmlns:a16="http://schemas.microsoft.com/office/drawing/2014/main" id="{136D971F-E278-4FE8-BAE4-2AD4D04270F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1954568E-D3F2-4EA1-8901-CBA2FF03DD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E19C9D94-B5B9-4323-A444-83000773662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tx1"/>
                </a:solidFill>
              </a:endParaRPr>
            </a:p>
          </p:txBody>
        </p:sp>
      </p:grp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14F1DE27-AD0C-4A9A-9D8D-4F823ECEAD7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6306" y="5914642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5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380023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/>
        </p:nvCxnSpPr>
        <p:spPr>
          <a:xfrm>
            <a:off x="999368" y="5709060"/>
            <a:ext cx="6088405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/>
        </p:nvSpPr>
        <p:spPr>
          <a:xfrm>
            <a:off x="346308" y="5605201"/>
            <a:ext cx="783397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90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6308" y="6019189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6308" y="6216807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sp>
        <p:nvSpPr>
          <p:cNvPr id="18" name="Freeform 5">
            <a:extLst>
              <a:ext uri="{FF2B5EF4-FFF2-40B4-BE49-F238E27FC236}">
                <a16:creationId xmlns:a16="http://schemas.microsoft.com/office/drawing/2014/main" id="{160A7550-5D67-4923-A7BC-21E832215440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70054" y="457199"/>
            <a:ext cx="4507059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D57A982A-5252-472B-BD55-97D51532138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6326" y="1476597"/>
            <a:ext cx="3813414" cy="860400"/>
          </a:xfrm>
        </p:spPr>
        <p:txBody>
          <a:bodyPr/>
          <a:lstStyle>
            <a:lvl1pPr>
              <a:defRPr sz="3000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/>
              <a:t>Title (EY Interstate Light 30 point)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F809C9F7-7674-4F00-8A7B-4EBDB5F94FB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6327" y="2422864"/>
            <a:ext cx="3813414" cy="64574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600"/>
              <a:t>Subtitle (EY Interstate 16 point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b="1"/>
              <a:t>XX Month 200X (EY Interstate bold 16 point)</a:t>
            </a:r>
            <a:endParaRPr lang="en-GB" sz="1600"/>
          </a:p>
        </p:txBody>
      </p:sp>
      <p:grpSp>
        <p:nvGrpSpPr>
          <p:cNvPr id="22" name="Group 4">
            <a:extLst>
              <a:ext uri="{FF2B5EF4-FFF2-40B4-BE49-F238E27FC236}">
                <a16:creationId xmlns:a16="http://schemas.microsoft.com/office/drawing/2014/main" id="{2FBA4DFB-2D74-4887-91FA-9FE36EADD25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88" y="5340350"/>
            <a:ext cx="987425" cy="1157288"/>
            <a:chOff x="4857" y="3364"/>
            <a:chExt cx="622" cy="729"/>
          </a:xfrm>
        </p:grpSpPr>
        <p:sp>
          <p:nvSpPr>
            <p:cNvPr id="23" name="AutoShape 3">
              <a:extLst>
                <a:ext uri="{FF2B5EF4-FFF2-40B4-BE49-F238E27FC236}">
                  <a16:creationId xmlns:a16="http://schemas.microsoft.com/office/drawing/2014/main" id="{B223B0E3-13DC-4092-840F-C19C33D0170D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720F86E7-783D-48A5-9A99-BBE51AD8BB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8EA618E4-F6E6-47C9-85C3-E1EF97EB6DF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8429881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5">
            <a:extLst>
              <a:ext uri="{FF2B5EF4-FFF2-40B4-BE49-F238E27FC236}">
                <a16:creationId xmlns:a16="http://schemas.microsoft.com/office/drawing/2014/main" id="{770C05D4-D8C4-4691-89DC-120E06C0A0E8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70054" y="457199"/>
            <a:ext cx="4507059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750119" y="1677507"/>
            <a:ext cx="3957735" cy="860400"/>
          </a:xfrm>
        </p:spPr>
        <p:txBody>
          <a:bodyPr/>
          <a:lstStyle>
            <a:lvl1pPr>
              <a:defRPr sz="3000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/>
              <a:t>Title (EY Interstate Light 30 point)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50119" y="2685128"/>
            <a:ext cx="3957735" cy="64574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600"/>
              <a:t>Subtitle (EY Interstate 16 point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GB">
                <a:latin typeface="EYInterstate" panose="02000503020000020004" pitchFamily="2" charset="0"/>
              </a:rPr>
              <a:t>XX Month 200X (EY Interstate bold 16 point)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77AB755-0634-43A3-B427-C896D8448ABA}"/>
              </a:ext>
            </a:extLst>
          </p:cNvPr>
          <p:cNvCxnSpPr>
            <a:cxnSpLocks/>
          </p:cNvCxnSpPr>
          <p:nvPr userDrawn="1"/>
        </p:nvCxnSpPr>
        <p:spPr>
          <a:xfrm>
            <a:off x="1333184" y="5691442"/>
            <a:ext cx="5669280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5246095A-D7CE-45C6-8BF9-B5543F78C034}"/>
              </a:ext>
            </a:extLst>
          </p:cNvPr>
          <p:cNvSpPr txBox="1"/>
          <p:nvPr userDrawn="1"/>
        </p:nvSpPr>
        <p:spPr>
          <a:xfrm>
            <a:off x="461984" y="5587582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9D785C9C-C30C-4D97-AE69-8F7DD8E35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184" y="6001571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  <a:latin typeface="EYInterstate Light" panose="02000506000000020004" pitchFamily="2" charset="0"/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E9ED2CF-644F-4B9E-820F-6BF4B84D684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184" y="6199189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rgbClr val="FFD200"/>
                </a:solidFill>
                <a:latin typeface="EYInterstate Light" panose="02000506000000020004" pitchFamily="2" charset="0"/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sp>
        <p:nvSpPr>
          <p:cNvPr id="19" name="Picture Placeholder 19">
            <a:extLst>
              <a:ext uri="{FF2B5EF4-FFF2-40B4-BE49-F238E27FC236}">
                <a16:creationId xmlns:a16="http://schemas.microsoft.com/office/drawing/2014/main" id="{220D652C-43A8-4888-A086-F26EAFCF8D7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983" y="5897024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  <a:latin typeface="EYInterstate Light" panose="02000506000000020004" pitchFamily="2" charset="0"/>
              </a:defRPr>
            </a:lvl1pPr>
          </a:lstStyle>
          <a:p>
            <a:endParaRPr lang="en-GB"/>
          </a:p>
        </p:txBody>
      </p:sp>
      <p:grpSp>
        <p:nvGrpSpPr>
          <p:cNvPr id="20" name="Group 4">
            <a:extLst>
              <a:ext uri="{FF2B5EF4-FFF2-40B4-BE49-F238E27FC236}">
                <a16:creationId xmlns:a16="http://schemas.microsoft.com/office/drawing/2014/main" id="{2FBA4DFB-2D74-4887-91FA-9FE36EADD25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88" y="5340350"/>
            <a:ext cx="987425" cy="1157288"/>
            <a:chOff x="4857" y="3364"/>
            <a:chExt cx="622" cy="729"/>
          </a:xfrm>
        </p:grpSpPr>
        <p:sp>
          <p:nvSpPr>
            <p:cNvPr id="21" name="AutoShape 3">
              <a:extLst>
                <a:ext uri="{FF2B5EF4-FFF2-40B4-BE49-F238E27FC236}">
                  <a16:creationId xmlns:a16="http://schemas.microsoft.com/office/drawing/2014/main" id="{B223B0E3-13DC-4092-840F-C19C33D0170D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720F86E7-783D-48A5-9A99-BBE51AD8BB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8EA618E4-F6E6-47C9-85C3-E1EF97EB6DF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37974050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Picture 118">
            <a:extLst>
              <a:ext uri="{FF2B5EF4-FFF2-40B4-BE49-F238E27FC236}">
                <a16:creationId xmlns:a16="http://schemas.microsoft.com/office/drawing/2014/main" id="{EAA736A0-D2E9-4CA1-BF9F-5E33CF39B8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457200"/>
            <a:ext cx="4654295" cy="3930900"/>
          </a:xfrm>
          <a:prstGeom prst="rect">
            <a:avLst/>
          </a:prstGeom>
        </p:spPr>
      </p:pic>
      <p:grpSp>
        <p:nvGrpSpPr>
          <p:cNvPr id="79" name="Group 4">
            <a:extLst>
              <a:ext uri="{FF2B5EF4-FFF2-40B4-BE49-F238E27FC236}">
                <a16:creationId xmlns:a16="http://schemas.microsoft.com/office/drawing/2014/main" id="{A159D8C9-C19B-4DF7-9C5A-22EDB8A5FB9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88" y="5340350"/>
            <a:ext cx="987425" cy="1157288"/>
            <a:chOff x="4857" y="3364"/>
            <a:chExt cx="622" cy="729"/>
          </a:xfrm>
        </p:grpSpPr>
        <p:sp>
          <p:nvSpPr>
            <p:cNvPr id="80" name="AutoShape 3">
              <a:extLst>
                <a:ext uri="{FF2B5EF4-FFF2-40B4-BE49-F238E27FC236}">
                  <a16:creationId xmlns:a16="http://schemas.microsoft.com/office/drawing/2014/main" id="{D95FB310-FD8D-4315-8C3A-8966DC1515AB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1" name="Freeform 5">
              <a:extLst>
                <a:ext uri="{FF2B5EF4-FFF2-40B4-BE49-F238E27FC236}">
                  <a16:creationId xmlns:a16="http://schemas.microsoft.com/office/drawing/2014/main" id="{B0F72F2B-2B88-4D56-A5C3-5C83787BA0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2" name="Freeform 6">
              <a:extLst>
                <a:ext uri="{FF2B5EF4-FFF2-40B4-BE49-F238E27FC236}">
                  <a16:creationId xmlns:a16="http://schemas.microsoft.com/office/drawing/2014/main" id="{900DB62A-8F2A-4742-9C40-2FC7AA18235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pic>
        <p:nvPicPr>
          <p:cNvPr id="83" name="Picture 82">
            <a:extLst>
              <a:ext uri="{FF2B5EF4-FFF2-40B4-BE49-F238E27FC236}">
                <a16:creationId xmlns:a16="http://schemas.microsoft.com/office/drawing/2014/main" id="{23B9FB7E-B586-4378-AE43-0A9B9CA0B98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5914517"/>
            <a:ext cx="3780000" cy="618750"/>
          </a:xfrm>
          <a:prstGeom prst="rect">
            <a:avLst/>
          </a:prstGeom>
        </p:spPr>
      </p:pic>
      <p:sp>
        <p:nvSpPr>
          <p:cNvPr id="124" name="Subtitle 2">
            <a:extLst>
              <a:ext uri="{FF2B5EF4-FFF2-40B4-BE49-F238E27FC236}">
                <a16:creationId xmlns:a16="http://schemas.microsoft.com/office/drawing/2014/main" id="{DE813F69-7E98-49B9-A563-B5D224235BE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8191" y="2825612"/>
            <a:ext cx="3612689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FFFFFF"/>
                </a:solidFill>
              </a:defRPr>
            </a:lvl2pPr>
            <a:lvl3pPr marL="0" indent="0" algn="l">
              <a:buNone/>
              <a:defRPr sz="1600">
                <a:solidFill>
                  <a:srgbClr val="FFFFFF"/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25" name="Title 1">
            <a:extLst>
              <a:ext uri="{FF2B5EF4-FFF2-40B4-BE49-F238E27FC236}">
                <a16:creationId xmlns:a16="http://schemas.microsoft.com/office/drawing/2014/main" id="{6135F81D-3120-4669-8305-5AB7CAA0504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88191" y="1855166"/>
            <a:ext cx="3612689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60302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5" name="Group 4">
            <a:extLst>
              <a:ext uri="{FF2B5EF4-FFF2-40B4-BE49-F238E27FC236}">
                <a16:creationId xmlns:a16="http://schemas.microsoft.com/office/drawing/2014/main" id="{916D9572-5294-4C0A-83C4-99E45F89495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88" y="5340350"/>
            <a:ext cx="987425" cy="1157288"/>
            <a:chOff x="4857" y="3364"/>
            <a:chExt cx="622" cy="729"/>
          </a:xfrm>
        </p:grpSpPr>
        <p:sp>
          <p:nvSpPr>
            <p:cNvPr id="86" name="AutoShape 3">
              <a:extLst>
                <a:ext uri="{FF2B5EF4-FFF2-40B4-BE49-F238E27FC236}">
                  <a16:creationId xmlns:a16="http://schemas.microsoft.com/office/drawing/2014/main" id="{5667BEF9-3DFA-4239-A852-71BA27EC8E18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7" name="Freeform 5">
              <a:extLst>
                <a:ext uri="{FF2B5EF4-FFF2-40B4-BE49-F238E27FC236}">
                  <a16:creationId xmlns:a16="http://schemas.microsoft.com/office/drawing/2014/main" id="{7E85CBCB-BA9A-4374-A431-F4DC5F8079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8" name="Freeform 6">
              <a:extLst>
                <a:ext uri="{FF2B5EF4-FFF2-40B4-BE49-F238E27FC236}">
                  <a16:creationId xmlns:a16="http://schemas.microsoft.com/office/drawing/2014/main" id="{5C0EF3BA-6104-4E1B-9F18-E642314A9A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pic>
        <p:nvPicPr>
          <p:cNvPr id="89" name="Picture 88">
            <a:extLst>
              <a:ext uri="{FF2B5EF4-FFF2-40B4-BE49-F238E27FC236}">
                <a16:creationId xmlns:a16="http://schemas.microsoft.com/office/drawing/2014/main" id="{BEA87971-BB0B-4ED2-8AC3-71D5B1159A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777240"/>
            <a:ext cx="6753225" cy="3400425"/>
          </a:xfrm>
          <a:prstGeom prst="rect">
            <a:avLst/>
          </a:prstGeom>
        </p:spPr>
      </p:pic>
      <p:sp>
        <p:nvSpPr>
          <p:cNvPr id="90" name="Subtitle 2">
            <a:extLst>
              <a:ext uri="{FF2B5EF4-FFF2-40B4-BE49-F238E27FC236}">
                <a16:creationId xmlns:a16="http://schemas.microsoft.com/office/drawing/2014/main" id="{D57E11BD-E2D9-41B1-9EF5-FF1EA0B8EB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8191" y="3258529"/>
            <a:ext cx="5943432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FFFFFF"/>
                </a:solidFill>
              </a:defRPr>
            </a:lvl2pPr>
            <a:lvl3pPr marL="0" indent="0" algn="l">
              <a:buNone/>
              <a:defRPr sz="1600">
                <a:solidFill>
                  <a:srgbClr val="FFFFFF"/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91" name="Title 1">
            <a:extLst>
              <a:ext uri="{FF2B5EF4-FFF2-40B4-BE49-F238E27FC236}">
                <a16:creationId xmlns:a16="http://schemas.microsoft.com/office/drawing/2014/main" id="{9E850DE9-7D5E-499B-8FA1-4143F639E0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88191" y="2288083"/>
            <a:ext cx="5943432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92" name="Picture 91">
            <a:extLst>
              <a:ext uri="{FF2B5EF4-FFF2-40B4-BE49-F238E27FC236}">
                <a16:creationId xmlns:a16="http://schemas.microsoft.com/office/drawing/2014/main" id="{620AFF6A-D70F-482C-ACA4-D71330481F1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5914517"/>
            <a:ext cx="3780000" cy="61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95859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1137920"/>
            <a:ext cx="82296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8197805-0689-4503-8125-F783F93171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5FAE63-7E9A-4E07-A1EE-A13CCDA74B6A}" type="datetime3">
              <a:rPr lang="en-US" smtClean="0"/>
              <a:t>18 October 2021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180DED-A206-48B8-8395-C38D75067D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21560" y="6516456"/>
            <a:ext cx="3695465" cy="1800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584CBDA-5400-4C9D-A814-1CE6E3FD4F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76914194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A80CEA2-D107-4E43-B632-8CAB22A8CA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A6D47E-5D00-4ABD-B58B-022800889229}" type="datetime3">
              <a:rPr lang="en-US" smtClean="0"/>
              <a:t>18 October 2021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3FCC4BD-E0C7-4008-8760-F505B7C870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>
                <a:solidFill>
                  <a:srgbClr val="2E2E38"/>
                </a:solidFill>
              </a:rPr>
              <a:t>Анализ вклада отрасли добычи и переработки золота в экономику и социальное развитие Республики Казахстан</a:t>
            </a:r>
            <a:endParaRPr lang="ru-RU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3ED2ADF-C3C7-4D61-8B10-4ED75087C3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982461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F607F99-5C2B-4FC6-A3DF-23E011C842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4464" y="6327648"/>
            <a:ext cx="402504" cy="411480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8A3025C-3438-4F2B-8F2C-C1B75E95834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008048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E1B84547-A7F2-4B63-B6A1-0757FFFABDDB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64889EE-A272-4972-94F8-C2BB452273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997A7D4-D39D-42B7-9480-78FE2F6F90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7201" y="6516456"/>
            <a:ext cx="663066" cy="180000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Стр.</a:t>
            </a:r>
            <a:r>
              <a:rPr lang="en-GB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9501150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46139" y="1"/>
            <a:ext cx="2997862" cy="615610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558041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1137921"/>
            <a:ext cx="5471882" cy="873760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57201" y="2311401"/>
            <a:ext cx="2683690" cy="3844704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3245392" y="2311402"/>
            <a:ext cx="2683690" cy="1254759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245392" y="4236721"/>
            <a:ext cx="2683690" cy="1944160"/>
          </a:xfrm>
        </p:spPr>
        <p:txBody>
          <a:bodyPr numCol="1"/>
          <a:lstStyle>
            <a:lvl1pPr marL="0" indent="0">
              <a:buNone/>
              <a:defRPr sz="134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5789875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031161-0EF0-4994-BAAC-817AFCD5564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C714D81-D9F8-4ACF-971B-81FCAAB76E74}" type="datetime3">
              <a:rPr lang="en-US" smtClean="0"/>
              <a:t>18 October 2021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4A1A6EA-628B-40CB-AD7E-45CB0B91C2D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099134-47E0-4E77-855E-45C10B9B8B1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58116735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787414" cy="685799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20418" y="294200"/>
            <a:ext cx="6665528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020417" y="1137921"/>
            <a:ext cx="2056091" cy="5018184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293076" y="1137921"/>
            <a:ext cx="2101787" cy="5018184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611431" y="1137922"/>
            <a:ext cx="2075369" cy="2796151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/>
        </p:nvSpPr>
        <p:spPr bwMode="auto">
          <a:xfrm>
            <a:off x="2020418" y="907750"/>
            <a:ext cx="6665528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E1076-97C0-41B2-AAE5-AD919BB2DC2E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CE0AD833-7E8C-46E8-9666-E0078DEAD5E2}" type="datetime3">
              <a:rPr lang="en-US" smtClean="0"/>
              <a:t>18 October 2021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A40DA20-3A42-4B9D-A853-92BEABFB15B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C6E24F-B7C3-43FD-BF17-E37070A300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744271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1137920"/>
            <a:ext cx="6175841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95E81C-0962-435D-B7CC-E9E7007F1F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630390-C56C-47BA-AD3B-9F9D7E9BAB71}" type="datetime3">
              <a:rPr lang="en-US" smtClean="0"/>
              <a:t>18 October 2021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CDD1B3-89EC-47BA-A26E-D040220115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9ACB01-FCA5-4FE1-B210-29952B46CA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13361295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4463" y="2851522"/>
            <a:ext cx="3334113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699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9" marR="0" lvl="0" indent="-267319" defTabSz="75551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ACF31FF-92C4-4CFE-89C8-231A1B4903B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8F21AF6E-B8AA-4B7E-83DB-4078A65699C3}" type="datetime3">
              <a:rPr lang="en-US" smtClean="0"/>
              <a:t>18 October 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B72E31-AECD-4259-BF90-99398FE128B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DE2F2A-9E13-4DC5-89FE-0719F2B171F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86876227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4463" y="2851522"/>
            <a:ext cx="3334113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699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9" marR="0" lvl="0" indent="-267319" defTabSz="75551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B824A25-AAE3-42CE-906A-12D97307C1F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A7FDEE7-D0C0-4BB2-A876-F0749CD64E19}" type="datetime3">
              <a:rPr lang="en-US" smtClean="0"/>
              <a:t>18 October 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DD7A84-5352-4432-83C2-4B3F3BD889A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5019A7-134D-49ED-8707-807B58B2E5D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04381646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67954" y="0"/>
            <a:ext cx="4476046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7135" y="2578743"/>
            <a:ext cx="3401698" cy="1055708"/>
          </a:xfrm>
        </p:spPr>
        <p:txBody>
          <a:bodyPr/>
          <a:lstStyle>
            <a:lvl1pPr marL="0" indent="0">
              <a:buNone/>
              <a:defRPr sz="2249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77135" y="3840384"/>
            <a:ext cx="3401698" cy="1055708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DA49F8-A774-4DD1-8745-65E01AB0472C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AB338166-9A1A-411A-B37A-6037B1A534DD}" type="datetime3">
              <a:rPr lang="en-US" smtClean="0"/>
              <a:t>18 October 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4C0F4CC-50C9-4C20-A16A-91535919DC9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53C557-8F9C-4613-8095-373D3EE8052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16057357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457200" y="1137921"/>
            <a:ext cx="3716193" cy="4267457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41864" y="3813288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1864" y="4055931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 to go here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89866" y="1137921"/>
            <a:ext cx="409693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89866" y="1635009"/>
            <a:ext cx="4096935" cy="1611554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US"/>
              <a:t>Content EY Interstate Light, 12pt, Lorem ipsum dolor, 12pt, </a:t>
            </a:r>
            <a:r>
              <a:rPr lang="en-US" err="1"/>
              <a:t>Utin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abhorreant</a:t>
            </a:r>
            <a:r>
              <a:rPr lang="en-US"/>
              <a:t> </a:t>
            </a:r>
            <a:r>
              <a:rPr lang="en-US" err="1"/>
              <a:t>sead</a:t>
            </a:r>
            <a:r>
              <a:rPr lang="en-US"/>
              <a:t>. </a:t>
            </a:r>
            <a:r>
              <a:rPr lang="en-US" err="1"/>
              <a:t>Putant</a:t>
            </a:r>
            <a:r>
              <a:rPr lang="en-US"/>
              <a:t> </a:t>
            </a:r>
            <a:r>
              <a:rPr lang="en-US" err="1"/>
              <a:t>probatus</a:t>
            </a:r>
            <a:r>
              <a:rPr lang="en-US"/>
              <a:t> id vis, ad his </a:t>
            </a:r>
            <a:r>
              <a:rPr lang="en-US" err="1"/>
              <a:t>meis</a:t>
            </a:r>
            <a:r>
              <a:rPr lang="en-US"/>
              <a:t> </a:t>
            </a:r>
            <a:r>
              <a:rPr lang="en-US" err="1"/>
              <a:t>habemus</a:t>
            </a:r>
            <a:r>
              <a:rPr lang="en-US"/>
              <a:t> </a:t>
            </a:r>
            <a:r>
              <a:rPr lang="en-US" err="1"/>
              <a:t>repudiare</a:t>
            </a:r>
            <a:r>
              <a:rPr lang="en-US"/>
              <a:t>, has an </a:t>
            </a:r>
            <a:r>
              <a:rPr lang="en-US" err="1"/>
              <a:t>pericula</a:t>
            </a:r>
            <a:r>
              <a:rPr lang="en-US"/>
              <a:t> </a:t>
            </a:r>
            <a:r>
              <a:rPr lang="en-US" err="1"/>
              <a:t>tractato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debitis</a:t>
            </a:r>
            <a:r>
              <a:rPr lang="en-US"/>
              <a:t> </a:t>
            </a:r>
            <a:r>
              <a:rPr lang="en-US" err="1"/>
              <a:t>dissentias</a:t>
            </a:r>
            <a:r>
              <a:rPr lang="en-US"/>
              <a:t> ad. </a:t>
            </a:r>
            <a:r>
              <a:rPr lang="en-US" err="1"/>
              <a:t>Patrioque</a:t>
            </a:r>
            <a:r>
              <a:rPr lang="en-US"/>
              <a:t> </a:t>
            </a:r>
            <a:r>
              <a:rPr lang="en-US" err="1"/>
              <a:t>voluptatum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ex, id </a:t>
            </a:r>
            <a:r>
              <a:rPr lang="en-US" err="1"/>
              <a:t>admodum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17" name="Picture Placeholder 19">
            <a:extLst>
              <a:ext uri="{FF2B5EF4-FFF2-40B4-BE49-F238E27FC236}">
                <a16:creationId xmlns:a16="http://schemas.microsoft.com/office/drawing/2014/main" id="{70E81591-07D5-438D-AAD4-4B9A889F448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589864" y="3578084"/>
            <a:ext cx="777600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5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B440ECC-CB43-49D3-ABF3-A5F4F308E7E2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DD79FEB3-D111-4B03-B363-1954D9EAD817}" type="datetime3">
              <a:rPr lang="en-US" smtClean="0"/>
              <a:t>18 October 2021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4279E38-5A0D-4584-B4BB-113C1A4C50C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3F8B89-1ED7-4BD8-90B0-47F3DF32AD7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61792134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4">
            <a:extLst>
              <a:ext uri="{FF2B5EF4-FFF2-40B4-BE49-F238E27FC236}">
                <a16:creationId xmlns:a16="http://schemas.microsoft.com/office/drawing/2014/main" id="{54B0064F-CA12-4F8F-B694-23C41AD0F16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284464" y="6327648"/>
            <a:ext cx="402336" cy="412867"/>
            <a:chOff x="7110" y="4004"/>
            <a:chExt cx="191" cy="196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F93F004B-02B9-4455-A020-115CFB37BE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19F4E2CA-BA89-47F8-8C68-7CACFBAF82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32993525-96BF-457D-86C8-A5E217C20B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6" name="Date Placeholder 2">
            <a:extLst>
              <a:ext uri="{FF2B5EF4-FFF2-40B4-BE49-F238E27FC236}">
                <a16:creationId xmlns:a16="http://schemas.microsoft.com/office/drawing/2014/main" id="{D8973D65-036E-4D65-AAA3-1427C4AA0C9B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892301" y="6516456"/>
            <a:ext cx="1191258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18B87B1-726C-407C-ABC1-90233A5E82CB}" type="datetime3">
              <a:rPr lang="en-US" smtClean="0"/>
              <a:t>18 October 2021</a:t>
            </a:fld>
            <a:endParaRPr lang="en-US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9711A3A-DB5C-4C5F-BF5A-7DBDD6EFF607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3321561" y="6516456"/>
            <a:ext cx="30861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40A4236-AC64-456A-B3F9-BED41065570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363093" y="6516456"/>
            <a:ext cx="663066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1572341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F607F99-5C2B-4FC6-A3DF-23E011C842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4464" y="6327648"/>
            <a:ext cx="402504" cy="411480"/>
          </a:xfrm>
          <a:prstGeom prst="rect">
            <a:avLst/>
          </a:prstGeom>
        </p:spPr>
      </p:pic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8FBE9395-9BF1-4306-9F29-1F8E92C9F8DB}"/>
              </a:ext>
            </a:extLst>
          </p:cNvPr>
          <p:cNvSpPr txBox="1">
            <a:spLocks/>
          </p:cNvSpPr>
          <p:nvPr userDrawn="1"/>
        </p:nvSpPr>
        <p:spPr>
          <a:xfrm>
            <a:off x="3757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20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87DD12F9-AC78-4784-A2C0-5FB6EC5A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1750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3BB2527F-4DCE-4CB5-A96D-2E432FD5A07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1750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7DFFB3C-E689-440E-8EDB-465853B3460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1750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09667CEE-F273-4416-9D45-A0E825F14911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284464" y="6327648"/>
            <a:ext cx="402336" cy="412867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3F5A26-EE33-4654-ACA2-880B36B275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325D6EF1-9951-4386-9E98-24FDBF5827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572CC147-C47E-4B17-9D76-D39D3C36CE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2840892399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BD7B1EAA-D62E-426F-9D29-F674CEB29C3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26000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 algn="ctr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C43D8C34-69FC-4DEE-BC95-D2F629475EB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26000" y="551683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78FCBB-C01D-4FF8-828E-0E27552CA9C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926000" y="582887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0AD41D48-C813-4F78-A2C8-0758D2B7DC18}"/>
              </a:ext>
            </a:extLst>
          </p:cNvPr>
          <p:cNvSpPr txBox="1">
            <a:spLocks/>
          </p:cNvSpPr>
          <p:nvPr userDrawn="1"/>
        </p:nvSpPr>
        <p:spPr>
          <a:xfrm>
            <a:off x="3402806" y="979787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20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FF60CB08-2DD7-4911-8D80-BCAC7944540B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284464" y="6327648"/>
            <a:ext cx="402336" cy="412867"/>
            <a:chOff x="7110" y="4004"/>
            <a:chExt cx="191" cy="196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C7E6D8E8-E311-4EB7-AFAA-50963EA7B1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53EFA7D4-C8AD-4C58-A0EE-C2B700393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E459CDB2-C2F0-4E1A-AC90-F93C856AA5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9648242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F607F99-5C2B-4FC6-A3DF-23E011C842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4464" y="6327648"/>
            <a:ext cx="402504" cy="411480"/>
          </a:xfrm>
          <a:prstGeom prst="rect">
            <a:avLst/>
          </a:prstGeom>
        </p:spPr>
      </p:pic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BD7B1EAA-D62E-426F-9D29-F674CEB29C3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26000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 algn="ctr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C43D8C34-69FC-4DEE-BC95-D2F629475EB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26000" y="551683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FFE600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78FCBB-C01D-4FF8-828E-0E27552CA9C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926000" y="582887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600" dirty="0" smtClean="0"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Job Titl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0AD41D48-C813-4F78-A2C8-0758D2B7DC18}"/>
              </a:ext>
            </a:extLst>
          </p:cNvPr>
          <p:cNvSpPr txBox="1">
            <a:spLocks/>
          </p:cNvSpPr>
          <p:nvPr userDrawn="1"/>
        </p:nvSpPr>
        <p:spPr>
          <a:xfrm>
            <a:off x="3402806" y="979787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200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1648088581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1137920"/>
            <a:ext cx="6175841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67319">
              <a:defRPr>
                <a:solidFill>
                  <a:schemeClr val="bg1"/>
                </a:solidFill>
              </a:defRPr>
            </a:lvl2pPr>
            <a:lvl3pPr marL="534639">
              <a:defRPr>
                <a:solidFill>
                  <a:schemeClr val="bg1"/>
                </a:solidFill>
              </a:defRPr>
            </a:lvl3pPr>
            <a:lvl4pPr marL="801958">
              <a:defRPr>
                <a:solidFill>
                  <a:schemeClr val="bg1"/>
                </a:solidFill>
              </a:defRPr>
            </a:lvl4pPr>
            <a:lvl5pPr marL="1069277"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BF0A34-C36D-461B-A015-21A5DA63B5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B3FD35-75EA-4E3C-8203-B1DF49E803B9}" type="datetime3">
              <a:rPr lang="en-US" smtClean="0"/>
              <a:t>18 October 2021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ECF0E1-C505-48F8-AD92-7D8685FF48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682A11-B39D-4FE0-A53D-0F1661DE05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4943674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03DAEA1-6A90-4FC2-97C7-E8CE039143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BBF41B-8EED-485F-8527-7255E296A7C2}" type="datetime3">
              <a:rPr lang="en-US" smtClean="0"/>
              <a:t>18 October 2021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B819100-2154-4CEF-A4AE-869A873311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B93803-CB8A-4830-8E96-5C407868A0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06905450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1" y="1137919"/>
            <a:ext cx="4038600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1" y="1137919"/>
            <a:ext cx="4038600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E1BDE01-7D08-4922-9259-4581BC33C3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56450A-46FD-48C3-BA7A-CA0107D1F469}" type="datetime3">
              <a:rPr lang="en-US" smtClean="0"/>
              <a:t>18 October 2021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29C6724-47E1-45B5-B455-099BFD53BB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8340A57-5875-43E6-BEEA-8CEBCDCA30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7670973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9247" y="1869441"/>
            <a:ext cx="4042800" cy="4256075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7304" y="1869441"/>
            <a:ext cx="4042800" cy="4256075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1" y="1137920"/>
            <a:ext cx="40428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47304" y="1137920"/>
            <a:ext cx="40428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FCA5F9A-0842-4BED-A447-9C3F6915DCD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3267EA8-A376-4B33-BD3F-55BF86E5B5E8}" type="datetime3">
              <a:rPr lang="en-US" smtClean="0"/>
              <a:t>18 October 2021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8AD82-A588-4EFB-A956-62AC671AB8A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F77DB56-43F3-4932-8420-FA767EBAB47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70189332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B7547C-9236-44B2-927D-EE1C7DF06D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A9E132-735D-4EAB-BB30-F7AB82A9C1C2}" type="datetime3">
              <a:rPr lang="en-US" smtClean="0"/>
              <a:t>18 October 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E2AC0F-F4F4-46F1-8E38-470CA2132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B301A4-CE65-4914-B017-DED28C2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21694191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3A9D79-13D5-4189-B325-32C1E30071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554C5F-8B31-4A59-930C-615A36AEBDE8}" type="datetime3">
              <a:rPr lang="en-US" smtClean="0"/>
              <a:t>18 October 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690CD3-106E-4E37-A338-7D12BDB87E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97AA2E-8C14-46B6-80A1-837B7775D6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79794752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813CB0-F911-4F63-ADF4-31E748E46E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8EEF31-5B66-4B77-A4D9-65203A2946C3}" type="datetime3">
              <a:rPr lang="en-US" smtClean="0"/>
              <a:t>18 October 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E00D68-E42E-4E18-97BC-09F3CC3C71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09C18C-4659-4936-9B48-47D9169929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058967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1F7CA26-2B7B-4622-93A8-93EC10CCBE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6B64AC-F05D-4529-838B-E08EF80F9CF6}" type="datetime3">
              <a:rPr lang="en-US" smtClean="0"/>
              <a:t>18 October 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0E24E25-AADE-42B5-BB07-A8C5FC7FBF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9B93A4-EF49-4605-8E7D-22AB1304F1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A3678118-FB9F-46C1-A6F2-3E42EC5536B0}"/>
              </a:ext>
            </a:extLst>
          </p:cNvPr>
          <p:cNvSpPr>
            <a:spLocks/>
          </p:cNvSpPr>
          <p:nvPr userDrawn="1"/>
        </p:nvSpPr>
        <p:spPr bwMode="gray">
          <a:xfrm>
            <a:off x="457200" y="1039815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6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1D46014-541B-4C37-8BD9-33F3A3BE76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576848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58AD78-6C49-405F-80BD-8F5F9CFAD7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B25FCB-027F-4AFC-AC33-909052C44882}" type="datetime3">
              <a:rPr lang="en-US" smtClean="0"/>
              <a:t>18 October 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A3A6C55-F277-42AF-8500-E16F039B9A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368E36-B58F-4FD6-B92E-04754A1D83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31791788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9144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E480A10-F3A8-4482-9A96-E4A2985059D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71D0F42-4D59-45FD-BE8B-A266D03D1032}" type="datetime3">
              <a:rPr lang="en-US" smtClean="0"/>
              <a:t>18 October 2021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D942338-84D5-44C7-ADEC-04C9C56CF23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AC4917-7B6B-475D-AAE6-8F714438F25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427572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F607F99-5C2B-4FC6-A3DF-23E011C842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4464" y="6327648"/>
            <a:ext cx="402504" cy="411480"/>
          </a:xfrm>
          <a:prstGeom prst="rect">
            <a:avLst/>
          </a:prstGeom>
        </p:spPr>
      </p:pic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8FBE9395-9BF1-4306-9F29-1F8E92C9F8DB}"/>
              </a:ext>
            </a:extLst>
          </p:cNvPr>
          <p:cNvSpPr txBox="1">
            <a:spLocks/>
          </p:cNvSpPr>
          <p:nvPr userDrawn="1"/>
        </p:nvSpPr>
        <p:spPr>
          <a:xfrm>
            <a:off x="3757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200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87DD12F9-AC78-4784-A2C0-5FB6EC5A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1750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3BB2527F-4DCE-4CB5-A96D-2E432FD5A07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1750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Name Surnam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7DFFB3C-E689-440E-8EDB-465853B3460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1750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373439263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719139"/>
            <a:ext cx="3506400" cy="5210062"/>
          </a:xfrm>
        </p:spPr>
        <p:txBody>
          <a:bodyPr/>
          <a:lstStyle>
            <a:lvl1pPr marL="0" indent="0" algn="l" defTabSz="746124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9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32089" indent="-13208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41609" indent="-14160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49882749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8867271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67954" y="0"/>
            <a:ext cx="4476046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1936" y="2050889"/>
            <a:ext cx="3401698" cy="1055708"/>
          </a:xfrm>
        </p:spPr>
        <p:txBody>
          <a:bodyPr/>
          <a:lstStyle>
            <a:lvl1pPr marL="0" indent="0">
              <a:buNone/>
              <a:defRPr sz="2249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1936" y="3312530"/>
            <a:ext cx="3401698" cy="1055708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E59B594-94BE-43F4-8A51-56A02D3520A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B14125CD-ECDC-41BF-B5F7-21B8B4D219D9}" type="datetime3">
              <a:rPr lang="en-US" smtClean="0"/>
              <a:t>18 October 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3D76FF3-5668-471F-96BC-86222958B48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C144E7-F1A6-43D5-9337-069D87B113F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7754259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064" y="2504281"/>
            <a:ext cx="3334113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6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9" marR="0" lvl="0" indent="-267319" defTabSz="75551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42413CE-C4D0-4ABD-A496-80941F07BDB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4773480B-F855-411E-A594-5B4E4D9759A1}" type="datetime3">
              <a:rPr lang="en-US" smtClean="0"/>
              <a:t>18 October 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6AF2A22-94A3-41BF-9F87-44E3FEF33B4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5C79A1-12F2-4F8B-A8F3-F46D58F4CB3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15172190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787414" cy="6857999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20418" y="294200"/>
            <a:ext cx="6665528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020417" y="1137921"/>
            <a:ext cx="2056091" cy="5018184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293076" y="1137921"/>
            <a:ext cx="2101787" cy="5018184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6611431" y="1137922"/>
            <a:ext cx="2075369" cy="2796151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Line 10">
            <a:extLst>
              <a:ext uri="{FF2B5EF4-FFF2-40B4-BE49-F238E27FC236}">
                <a16:creationId xmlns:a16="http://schemas.microsoft.com/office/drawing/2014/main" id="{1FE654FB-261F-44E5-8EF9-237DB835D71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023353" y="907750"/>
            <a:ext cx="669263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3AD698-0E41-4FCF-AB31-51B8D1AE402F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92E9F115-041F-441A-8622-1DCA9A948732}" type="datetime3">
              <a:rPr lang="en-US" smtClean="0"/>
              <a:t>18 October 2021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9018413-4A60-4C02-9E4A-E0257623113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74983C1-0EF4-4B2C-97F2-6888EAEE5D8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457201" y="6516456"/>
            <a:ext cx="663066" cy="180000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Стр.</a:t>
            </a:r>
            <a:r>
              <a:rPr lang="en-GB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54034266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9C0DD7D-5B2C-4539-8FE2-07617C2EF1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9274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9C0DD7D-5B2C-4539-8FE2-07617C2EF1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128D225-A95C-4182-BE44-3E9027AF283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ru-RU" sz="3000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945AD81-9D09-493D-94B8-1CAA625F68C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0361" y="5340096"/>
            <a:ext cx="987552" cy="1156968"/>
          </a:xfrm>
          <a:prstGeom prst="rect">
            <a:avLst/>
          </a:prstGeom>
        </p:spPr>
      </p:pic>
      <p:sp>
        <p:nvSpPr>
          <p:cNvPr id="7" name="Freeform 5">
            <a:extLst>
              <a:ext uri="{FF2B5EF4-FFF2-40B4-BE49-F238E27FC236}">
                <a16:creationId xmlns:a16="http://schemas.microsoft.com/office/drawing/2014/main" id="{B7F2A12E-7729-47A0-BC4C-937A569C1503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70054" y="457199"/>
            <a:ext cx="4507059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306FE6B-2888-42EC-9409-22E0C44C3E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6326" y="1476597"/>
            <a:ext cx="4064949" cy="860400"/>
          </a:xfrm>
        </p:spPr>
        <p:txBody>
          <a:bodyPr/>
          <a:lstStyle>
            <a:lvl1pPr>
              <a:defRPr sz="3000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ru-RU"/>
              <a:t>Стимулирование развития золотодобывающей отрасли Казахстана</a:t>
            </a:r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2FC3DF6-2861-4293-9E33-F3E405EF9F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6325" y="3337832"/>
            <a:ext cx="4064949" cy="3912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 b="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ru-RU">
                <a:solidFill>
                  <a:schemeClr val="bg1"/>
                </a:solidFill>
              </a:rPr>
              <a:t>Август, 2020</a:t>
            </a:r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44065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/>
        </p:nvCxnSpPr>
        <p:spPr>
          <a:xfrm>
            <a:off x="999368" y="5709060"/>
            <a:ext cx="6088405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/>
        </p:nvSpPr>
        <p:spPr>
          <a:xfrm>
            <a:off x="346308" y="5605201"/>
            <a:ext cx="783397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90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9368" y="6019189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99368" y="6216807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0F898568-1B78-454B-9FE7-9E37EEF85A89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70054" y="457199"/>
            <a:ext cx="4507059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C105A121-2DA3-4610-BC32-EBB7F8ABAFD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6326" y="1476597"/>
            <a:ext cx="3813414" cy="860400"/>
          </a:xfrm>
        </p:spPr>
        <p:txBody>
          <a:bodyPr/>
          <a:lstStyle>
            <a:lvl1pPr>
              <a:defRPr sz="3000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/>
              <a:t>Title (EY Interstate Light 30 point)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61BB2EE4-E5D4-4DD9-97C5-CF16A0A2327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6327" y="2422864"/>
            <a:ext cx="3813414" cy="64574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600"/>
              <a:t>Subtitle (EY Interstate 16 point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b="1"/>
              <a:t>XX Month 200X (EY Interstate bold 16 point)</a:t>
            </a:r>
            <a:endParaRPr lang="en-GB" sz="1600"/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403A0AAB-2D99-480E-8BCB-0300B2E4CA7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88" y="5340350"/>
            <a:ext cx="987425" cy="1157288"/>
            <a:chOff x="4857" y="3364"/>
            <a:chExt cx="622" cy="729"/>
          </a:xfrm>
        </p:grpSpPr>
        <p:sp>
          <p:nvSpPr>
            <p:cNvPr id="6" name="AutoShape 3">
              <a:extLst>
                <a:ext uri="{FF2B5EF4-FFF2-40B4-BE49-F238E27FC236}">
                  <a16:creationId xmlns:a16="http://schemas.microsoft.com/office/drawing/2014/main" id="{136D971F-E278-4FE8-BAE4-2AD4D04270F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1954568E-D3F2-4EA1-8901-CBA2FF03DD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E19C9D94-B5B9-4323-A444-83000773662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tx1"/>
                </a:solidFill>
              </a:endParaRPr>
            </a:p>
          </p:txBody>
        </p:sp>
      </p:grp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14F1DE27-AD0C-4A9A-9D8D-4F823ECEAD7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6306" y="5914642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5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8388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/>
        </p:nvCxnSpPr>
        <p:spPr>
          <a:xfrm>
            <a:off x="999368" y="5709060"/>
            <a:ext cx="6088405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/>
        </p:nvSpPr>
        <p:spPr>
          <a:xfrm>
            <a:off x="346308" y="5605201"/>
            <a:ext cx="783397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90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6308" y="6019189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6308" y="6216807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sp>
        <p:nvSpPr>
          <p:cNvPr id="18" name="Freeform 5">
            <a:extLst>
              <a:ext uri="{FF2B5EF4-FFF2-40B4-BE49-F238E27FC236}">
                <a16:creationId xmlns:a16="http://schemas.microsoft.com/office/drawing/2014/main" id="{160A7550-5D67-4923-A7BC-21E832215440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70054" y="457199"/>
            <a:ext cx="4507059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D57A982A-5252-472B-BD55-97D51532138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6326" y="1476597"/>
            <a:ext cx="3813414" cy="860400"/>
          </a:xfrm>
        </p:spPr>
        <p:txBody>
          <a:bodyPr/>
          <a:lstStyle>
            <a:lvl1pPr>
              <a:defRPr sz="3000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/>
              <a:t>Title (EY Interstate Light 30 point)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F809C9F7-7674-4F00-8A7B-4EBDB5F94FB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6327" y="2422864"/>
            <a:ext cx="3813414" cy="64574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600"/>
              <a:t>Subtitle (EY Interstate 16 point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b="1"/>
              <a:t>XX Month 200X (EY Interstate bold 16 point)</a:t>
            </a:r>
            <a:endParaRPr lang="en-GB" sz="1600"/>
          </a:p>
        </p:txBody>
      </p:sp>
      <p:grpSp>
        <p:nvGrpSpPr>
          <p:cNvPr id="22" name="Group 4">
            <a:extLst>
              <a:ext uri="{FF2B5EF4-FFF2-40B4-BE49-F238E27FC236}">
                <a16:creationId xmlns:a16="http://schemas.microsoft.com/office/drawing/2014/main" id="{2FBA4DFB-2D74-4887-91FA-9FE36EADD25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88" y="5340350"/>
            <a:ext cx="987425" cy="1157288"/>
            <a:chOff x="4857" y="3364"/>
            <a:chExt cx="622" cy="729"/>
          </a:xfrm>
        </p:grpSpPr>
        <p:sp>
          <p:nvSpPr>
            <p:cNvPr id="23" name="AutoShape 3">
              <a:extLst>
                <a:ext uri="{FF2B5EF4-FFF2-40B4-BE49-F238E27FC236}">
                  <a16:creationId xmlns:a16="http://schemas.microsoft.com/office/drawing/2014/main" id="{B223B0E3-13DC-4092-840F-C19C33D0170D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720F86E7-783D-48A5-9A99-BBE51AD8BB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8EA618E4-F6E6-47C9-85C3-E1EF97EB6DF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20637380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5">
            <a:extLst>
              <a:ext uri="{FF2B5EF4-FFF2-40B4-BE49-F238E27FC236}">
                <a16:creationId xmlns:a16="http://schemas.microsoft.com/office/drawing/2014/main" id="{770C05D4-D8C4-4691-89DC-120E06C0A0E8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70054" y="457199"/>
            <a:ext cx="4507059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750119" y="1677507"/>
            <a:ext cx="3957735" cy="860400"/>
          </a:xfrm>
        </p:spPr>
        <p:txBody>
          <a:bodyPr/>
          <a:lstStyle>
            <a:lvl1pPr>
              <a:defRPr sz="3000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/>
              <a:t>Title (EY Interstate Light 30 point)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50119" y="2685128"/>
            <a:ext cx="3957735" cy="64574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600"/>
              <a:t>Subtitle (EY Interstate 16 point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GB">
                <a:latin typeface="EYInterstate" panose="02000503020000020004" pitchFamily="2" charset="0"/>
              </a:rPr>
              <a:t>XX Month 200X (EY Interstate bold 16 point)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77AB755-0634-43A3-B427-C896D8448ABA}"/>
              </a:ext>
            </a:extLst>
          </p:cNvPr>
          <p:cNvCxnSpPr>
            <a:cxnSpLocks/>
          </p:cNvCxnSpPr>
          <p:nvPr userDrawn="1"/>
        </p:nvCxnSpPr>
        <p:spPr>
          <a:xfrm>
            <a:off x="1333184" y="5691442"/>
            <a:ext cx="5669280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5246095A-D7CE-45C6-8BF9-B5543F78C034}"/>
              </a:ext>
            </a:extLst>
          </p:cNvPr>
          <p:cNvSpPr txBox="1"/>
          <p:nvPr userDrawn="1"/>
        </p:nvSpPr>
        <p:spPr>
          <a:xfrm>
            <a:off x="461984" y="5587582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9D785C9C-C30C-4D97-AE69-8F7DD8E35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184" y="6001571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  <a:latin typeface="EYInterstate Light" panose="02000506000000020004" pitchFamily="2" charset="0"/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E9ED2CF-644F-4B9E-820F-6BF4B84D684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184" y="6199189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rgbClr val="FFD200"/>
                </a:solidFill>
                <a:latin typeface="EYInterstate Light" panose="02000506000000020004" pitchFamily="2" charset="0"/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sp>
        <p:nvSpPr>
          <p:cNvPr id="19" name="Picture Placeholder 19">
            <a:extLst>
              <a:ext uri="{FF2B5EF4-FFF2-40B4-BE49-F238E27FC236}">
                <a16:creationId xmlns:a16="http://schemas.microsoft.com/office/drawing/2014/main" id="{220D652C-43A8-4888-A086-F26EAFCF8D7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983" y="5897024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  <a:latin typeface="EYInterstate Light" panose="02000506000000020004" pitchFamily="2" charset="0"/>
              </a:defRPr>
            </a:lvl1pPr>
          </a:lstStyle>
          <a:p>
            <a:endParaRPr lang="en-GB"/>
          </a:p>
        </p:txBody>
      </p:sp>
      <p:grpSp>
        <p:nvGrpSpPr>
          <p:cNvPr id="20" name="Group 4">
            <a:extLst>
              <a:ext uri="{FF2B5EF4-FFF2-40B4-BE49-F238E27FC236}">
                <a16:creationId xmlns:a16="http://schemas.microsoft.com/office/drawing/2014/main" id="{2FBA4DFB-2D74-4887-91FA-9FE36EADD25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88" y="5340350"/>
            <a:ext cx="987425" cy="1157288"/>
            <a:chOff x="4857" y="3364"/>
            <a:chExt cx="622" cy="729"/>
          </a:xfrm>
        </p:grpSpPr>
        <p:sp>
          <p:nvSpPr>
            <p:cNvPr id="21" name="AutoShape 3">
              <a:extLst>
                <a:ext uri="{FF2B5EF4-FFF2-40B4-BE49-F238E27FC236}">
                  <a16:creationId xmlns:a16="http://schemas.microsoft.com/office/drawing/2014/main" id="{B223B0E3-13DC-4092-840F-C19C33D0170D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720F86E7-783D-48A5-9A99-BBE51AD8BB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8EA618E4-F6E6-47C9-85C3-E1EF97EB6DF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21460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Picture 118">
            <a:extLst>
              <a:ext uri="{FF2B5EF4-FFF2-40B4-BE49-F238E27FC236}">
                <a16:creationId xmlns:a16="http://schemas.microsoft.com/office/drawing/2014/main" id="{EAA736A0-D2E9-4CA1-BF9F-5E33CF39B8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457200"/>
            <a:ext cx="4654295" cy="3930900"/>
          </a:xfrm>
          <a:prstGeom prst="rect">
            <a:avLst/>
          </a:prstGeom>
        </p:spPr>
      </p:pic>
      <p:grpSp>
        <p:nvGrpSpPr>
          <p:cNvPr id="79" name="Group 4">
            <a:extLst>
              <a:ext uri="{FF2B5EF4-FFF2-40B4-BE49-F238E27FC236}">
                <a16:creationId xmlns:a16="http://schemas.microsoft.com/office/drawing/2014/main" id="{A159D8C9-C19B-4DF7-9C5A-22EDB8A5FB9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88" y="5340350"/>
            <a:ext cx="987425" cy="1157288"/>
            <a:chOff x="4857" y="3364"/>
            <a:chExt cx="622" cy="729"/>
          </a:xfrm>
        </p:grpSpPr>
        <p:sp>
          <p:nvSpPr>
            <p:cNvPr id="80" name="AutoShape 3">
              <a:extLst>
                <a:ext uri="{FF2B5EF4-FFF2-40B4-BE49-F238E27FC236}">
                  <a16:creationId xmlns:a16="http://schemas.microsoft.com/office/drawing/2014/main" id="{D95FB310-FD8D-4315-8C3A-8966DC1515AB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1" name="Freeform 5">
              <a:extLst>
                <a:ext uri="{FF2B5EF4-FFF2-40B4-BE49-F238E27FC236}">
                  <a16:creationId xmlns:a16="http://schemas.microsoft.com/office/drawing/2014/main" id="{B0F72F2B-2B88-4D56-A5C3-5C83787BA0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2" name="Freeform 6">
              <a:extLst>
                <a:ext uri="{FF2B5EF4-FFF2-40B4-BE49-F238E27FC236}">
                  <a16:creationId xmlns:a16="http://schemas.microsoft.com/office/drawing/2014/main" id="{900DB62A-8F2A-4742-9C40-2FC7AA18235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pic>
        <p:nvPicPr>
          <p:cNvPr id="83" name="Picture 82">
            <a:extLst>
              <a:ext uri="{FF2B5EF4-FFF2-40B4-BE49-F238E27FC236}">
                <a16:creationId xmlns:a16="http://schemas.microsoft.com/office/drawing/2014/main" id="{23B9FB7E-B586-4378-AE43-0A9B9CA0B98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5914517"/>
            <a:ext cx="3780000" cy="618750"/>
          </a:xfrm>
          <a:prstGeom prst="rect">
            <a:avLst/>
          </a:prstGeom>
        </p:spPr>
      </p:pic>
      <p:sp>
        <p:nvSpPr>
          <p:cNvPr id="124" name="Subtitle 2">
            <a:extLst>
              <a:ext uri="{FF2B5EF4-FFF2-40B4-BE49-F238E27FC236}">
                <a16:creationId xmlns:a16="http://schemas.microsoft.com/office/drawing/2014/main" id="{DE813F69-7E98-49B9-A563-B5D224235BE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8191" y="2825612"/>
            <a:ext cx="3612689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FFFFFF"/>
                </a:solidFill>
              </a:defRPr>
            </a:lvl2pPr>
            <a:lvl3pPr marL="0" indent="0" algn="l">
              <a:buNone/>
              <a:defRPr sz="1600">
                <a:solidFill>
                  <a:srgbClr val="FFFFFF"/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25" name="Title 1">
            <a:extLst>
              <a:ext uri="{FF2B5EF4-FFF2-40B4-BE49-F238E27FC236}">
                <a16:creationId xmlns:a16="http://schemas.microsoft.com/office/drawing/2014/main" id="{6135F81D-3120-4669-8305-5AB7CAA0504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88191" y="1855166"/>
            <a:ext cx="3612689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22680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1137920"/>
            <a:ext cx="6175841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67319">
              <a:defRPr>
                <a:solidFill>
                  <a:schemeClr val="bg1"/>
                </a:solidFill>
              </a:defRPr>
            </a:lvl2pPr>
            <a:lvl3pPr marL="534639">
              <a:defRPr>
                <a:solidFill>
                  <a:schemeClr val="bg1"/>
                </a:solidFill>
              </a:defRPr>
            </a:lvl3pPr>
            <a:lvl4pPr marL="801958">
              <a:defRPr>
                <a:solidFill>
                  <a:schemeClr val="bg1"/>
                </a:solidFill>
              </a:defRPr>
            </a:lvl4pPr>
            <a:lvl5pPr marL="1069277"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Line 11">
            <a:extLst>
              <a:ext uri="{FF2B5EF4-FFF2-40B4-BE49-F238E27FC236}">
                <a16:creationId xmlns:a16="http://schemas.microsoft.com/office/drawing/2014/main" id="{95EDADD0-A4AE-43D1-A8CA-F0D422EBF998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7" name="Line 10">
            <a:extLst>
              <a:ext uri="{FF2B5EF4-FFF2-40B4-BE49-F238E27FC236}">
                <a16:creationId xmlns:a16="http://schemas.microsoft.com/office/drawing/2014/main" id="{0DC4E272-5E22-4B3C-94CE-7BFF319FA14A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1" y="907750"/>
            <a:ext cx="8258782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B26A883D-CB1B-44DF-B864-E08C3B09A70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008048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364252D3-0227-45BB-8E63-57625595385F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D518928-6D8C-4DEF-879C-4C4BB7FFA2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D804FC6-AE5A-4130-8CE6-82D0878A83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7201" y="6516456"/>
            <a:ext cx="663066" cy="180000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Стр.</a:t>
            </a:r>
            <a:r>
              <a:rPr lang="en-GB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18677010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5" name="Group 4">
            <a:extLst>
              <a:ext uri="{FF2B5EF4-FFF2-40B4-BE49-F238E27FC236}">
                <a16:creationId xmlns:a16="http://schemas.microsoft.com/office/drawing/2014/main" id="{916D9572-5294-4C0A-83C4-99E45F89495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88" y="5340350"/>
            <a:ext cx="987425" cy="1157288"/>
            <a:chOff x="4857" y="3364"/>
            <a:chExt cx="622" cy="729"/>
          </a:xfrm>
        </p:grpSpPr>
        <p:sp>
          <p:nvSpPr>
            <p:cNvPr id="86" name="AutoShape 3">
              <a:extLst>
                <a:ext uri="{FF2B5EF4-FFF2-40B4-BE49-F238E27FC236}">
                  <a16:creationId xmlns:a16="http://schemas.microsoft.com/office/drawing/2014/main" id="{5667BEF9-3DFA-4239-A852-71BA27EC8E18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7" name="Freeform 5">
              <a:extLst>
                <a:ext uri="{FF2B5EF4-FFF2-40B4-BE49-F238E27FC236}">
                  <a16:creationId xmlns:a16="http://schemas.microsoft.com/office/drawing/2014/main" id="{7E85CBCB-BA9A-4374-A431-F4DC5F8079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8" name="Freeform 6">
              <a:extLst>
                <a:ext uri="{FF2B5EF4-FFF2-40B4-BE49-F238E27FC236}">
                  <a16:creationId xmlns:a16="http://schemas.microsoft.com/office/drawing/2014/main" id="{5C0EF3BA-6104-4E1B-9F18-E642314A9A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pic>
        <p:nvPicPr>
          <p:cNvPr id="89" name="Picture 88">
            <a:extLst>
              <a:ext uri="{FF2B5EF4-FFF2-40B4-BE49-F238E27FC236}">
                <a16:creationId xmlns:a16="http://schemas.microsoft.com/office/drawing/2014/main" id="{BEA87971-BB0B-4ED2-8AC3-71D5B1159A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777240"/>
            <a:ext cx="6753225" cy="3400425"/>
          </a:xfrm>
          <a:prstGeom prst="rect">
            <a:avLst/>
          </a:prstGeom>
        </p:spPr>
      </p:pic>
      <p:sp>
        <p:nvSpPr>
          <p:cNvPr id="90" name="Subtitle 2">
            <a:extLst>
              <a:ext uri="{FF2B5EF4-FFF2-40B4-BE49-F238E27FC236}">
                <a16:creationId xmlns:a16="http://schemas.microsoft.com/office/drawing/2014/main" id="{D57E11BD-E2D9-41B1-9EF5-FF1EA0B8EB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8191" y="3258529"/>
            <a:ext cx="5943432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FFFFFF"/>
                </a:solidFill>
              </a:defRPr>
            </a:lvl2pPr>
            <a:lvl3pPr marL="0" indent="0" algn="l">
              <a:buNone/>
              <a:defRPr sz="1600">
                <a:solidFill>
                  <a:srgbClr val="FFFFFF"/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91" name="Title 1">
            <a:extLst>
              <a:ext uri="{FF2B5EF4-FFF2-40B4-BE49-F238E27FC236}">
                <a16:creationId xmlns:a16="http://schemas.microsoft.com/office/drawing/2014/main" id="{9E850DE9-7D5E-499B-8FA1-4143F639E0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88191" y="2288083"/>
            <a:ext cx="5943432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92" name="Picture 91">
            <a:extLst>
              <a:ext uri="{FF2B5EF4-FFF2-40B4-BE49-F238E27FC236}">
                <a16:creationId xmlns:a16="http://schemas.microsoft.com/office/drawing/2014/main" id="{620AFF6A-D70F-482C-ACA4-D71330481F1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5914517"/>
            <a:ext cx="3780000" cy="61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56588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1137920"/>
            <a:ext cx="82296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8197805-0689-4503-8125-F783F93171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0719D8-602A-4D56-AA56-BF5E56C3EA53}" type="datetime3">
              <a:rPr lang="en-US" smtClean="0"/>
              <a:t>18 October 2021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180DED-A206-48B8-8395-C38D75067D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21560" y="6516456"/>
            <a:ext cx="3695465" cy="1800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584CBDA-5400-4C9D-A814-1CE6E3FD4F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74315901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A80CEA2-D107-4E43-B632-8CAB22A8CA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1185D2-B874-4697-AE62-E3A85E5A0B72}" type="datetime3">
              <a:rPr lang="en-US" smtClean="0"/>
              <a:t>18 October 2021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3FCC4BD-E0C7-4008-8760-F505B7C870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>
                <a:solidFill>
                  <a:srgbClr val="2E2E38"/>
                </a:solidFill>
              </a:rPr>
              <a:t>Анализ вклада отрасли добычи и переработки золота в экономику и социальное развитие Республики Казахстан</a:t>
            </a:r>
            <a:endParaRPr lang="ru-RU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3ED2ADF-C3C7-4D61-8B10-4ED75087C3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53898120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46139" y="1"/>
            <a:ext cx="2997862" cy="615610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558041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1137921"/>
            <a:ext cx="5471882" cy="873760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57201" y="2311401"/>
            <a:ext cx="2683690" cy="3844704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3245392" y="2311402"/>
            <a:ext cx="2683690" cy="1254759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245392" y="4236721"/>
            <a:ext cx="2683690" cy="1944160"/>
          </a:xfrm>
        </p:spPr>
        <p:txBody>
          <a:bodyPr numCol="1"/>
          <a:lstStyle>
            <a:lvl1pPr marL="0" indent="0">
              <a:buNone/>
              <a:defRPr sz="134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5789875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031161-0EF0-4994-BAAC-817AFCD5564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738D52A-69AD-425B-A999-609CAEA361AC}" type="datetime3">
              <a:rPr lang="en-US" smtClean="0"/>
              <a:t>18 October 2021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4A1A6EA-628B-40CB-AD7E-45CB0B91C2D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099134-47E0-4E77-855E-45C10B9B8B1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00016262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787414" cy="685799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20418" y="294200"/>
            <a:ext cx="6665528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020417" y="1137921"/>
            <a:ext cx="2056091" cy="5018184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293076" y="1137921"/>
            <a:ext cx="2101787" cy="5018184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611431" y="1137922"/>
            <a:ext cx="2075369" cy="2796151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/>
        </p:nvSpPr>
        <p:spPr bwMode="auto">
          <a:xfrm>
            <a:off x="2020418" y="907750"/>
            <a:ext cx="6665528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E1076-97C0-41B2-AAE5-AD919BB2DC2E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1DE03E3A-486D-4DBF-BE92-2F46E751AC96}" type="datetime3">
              <a:rPr lang="en-US" smtClean="0"/>
              <a:t>18 October 2021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A40DA20-3A42-4B9D-A853-92BEABFB15B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C6E24F-B7C3-43FD-BF17-E37070A300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12432025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1137920"/>
            <a:ext cx="6175841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95E81C-0962-435D-B7CC-E9E7007F1F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66B376-25C1-48D7-AE62-0B602B84E346}" type="datetime3">
              <a:rPr lang="en-US" smtClean="0"/>
              <a:t>18 October 2021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CDD1B3-89EC-47BA-A26E-D040220115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9ACB01-FCA5-4FE1-B210-29952B46CA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40956276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4463" y="2851522"/>
            <a:ext cx="3334113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699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9" marR="0" lvl="0" indent="-267319" defTabSz="75551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ACF31FF-92C4-4CFE-89C8-231A1B4903B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6AE93D85-9D80-463F-9301-AC242C134FE0}" type="datetime3">
              <a:rPr lang="en-US" smtClean="0"/>
              <a:t>18 October 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B72E31-AECD-4259-BF90-99398FE128B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DE2F2A-9E13-4DC5-89FE-0719F2B171F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0924586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4463" y="2851522"/>
            <a:ext cx="3334113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699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9" marR="0" lvl="0" indent="-267319" defTabSz="75551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B824A25-AAE3-42CE-906A-12D97307C1F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0C9FF947-6B6D-4E2E-9527-EEFA9F028D8F}" type="datetime3">
              <a:rPr lang="en-US" smtClean="0"/>
              <a:t>18 October 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DD7A84-5352-4432-83C2-4B3F3BD889A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5019A7-134D-49ED-8707-807B58B2E5D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27079657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67954" y="0"/>
            <a:ext cx="4476046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7135" y="2578743"/>
            <a:ext cx="3401698" cy="1055708"/>
          </a:xfrm>
        </p:spPr>
        <p:txBody>
          <a:bodyPr/>
          <a:lstStyle>
            <a:lvl1pPr marL="0" indent="0">
              <a:buNone/>
              <a:defRPr sz="2249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77135" y="3840384"/>
            <a:ext cx="3401698" cy="1055708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DA49F8-A774-4DD1-8745-65E01AB0472C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A8295797-519C-4C04-AD4B-759AB2D3F081}" type="datetime3">
              <a:rPr lang="en-US" smtClean="0"/>
              <a:t>18 October 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4C0F4CC-50C9-4C20-A16A-91535919DC9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53C557-8F9C-4613-8095-373D3EE8052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50995209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457200" y="1137921"/>
            <a:ext cx="3716193" cy="4267457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41864" y="3813288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1864" y="4055931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 to go here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89866" y="1137921"/>
            <a:ext cx="409693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89866" y="1635009"/>
            <a:ext cx="4096935" cy="1611554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US"/>
              <a:t>Content EY Interstate Light, 12pt, Lorem ipsum dolor, 12pt, </a:t>
            </a:r>
            <a:r>
              <a:rPr lang="en-US" err="1"/>
              <a:t>Utin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abhorreant</a:t>
            </a:r>
            <a:r>
              <a:rPr lang="en-US"/>
              <a:t> </a:t>
            </a:r>
            <a:r>
              <a:rPr lang="en-US" err="1"/>
              <a:t>sead</a:t>
            </a:r>
            <a:r>
              <a:rPr lang="en-US"/>
              <a:t>. </a:t>
            </a:r>
            <a:r>
              <a:rPr lang="en-US" err="1"/>
              <a:t>Putant</a:t>
            </a:r>
            <a:r>
              <a:rPr lang="en-US"/>
              <a:t> </a:t>
            </a:r>
            <a:r>
              <a:rPr lang="en-US" err="1"/>
              <a:t>probatus</a:t>
            </a:r>
            <a:r>
              <a:rPr lang="en-US"/>
              <a:t> id vis, ad his </a:t>
            </a:r>
            <a:r>
              <a:rPr lang="en-US" err="1"/>
              <a:t>meis</a:t>
            </a:r>
            <a:r>
              <a:rPr lang="en-US"/>
              <a:t> </a:t>
            </a:r>
            <a:r>
              <a:rPr lang="en-US" err="1"/>
              <a:t>habemus</a:t>
            </a:r>
            <a:r>
              <a:rPr lang="en-US"/>
              <a:t> </a:t>
            </a:r>
            <a:r>
              <a:rPr lang="en-US" err="1"/>
              <a:t>repudiare</a:t>
            </a:r>
            <a:r>
              <a:rPr lang="en-US"/>
              <a:t>, has an </a:t>
            </a:r>
            <a:r>
              <a:rPr lang="en-US" err="1"/>
              <a:t>pericula</a:t>
            </a:r>
            <a:r>
              <a:rPr lang="en-US"/>
              <a:t> </a:t>
            </a:r>
            <a:r>
              <a:rPr lang="en-US" err="1"/>
              <a:t>tractato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debitis</a:t>
            </a:r>
            <a:r>
              <a:rPr lang="en-US"/>
              <a:t> </a:t>
            </a:r>
            <a:r>
              <a:rPr lang="en-US" err="1"/>
              <a:t>dissentias</a:t>
            </a:r>
            <a:r>
              <a:rPr lang="en-US"/>
              <a:t> ad. </a:t>
            </a:r>
            <a:r>
              <a:rPr lang="en-US" err="1"/>
              <a:t>Patrioque</a:t>
            </a:r>
            <a:r>
              <a:rPr lang="en-US"/>
              <a:t> </a:t>
            </a:r>
            <a:r>
              <a:rPr lang="en-US" err="1"/>
              <a:t>voluptatum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ex, id </a:t>
            </a:r>
            <a:r>
              <a:rPr lang="en-US" err="1"/>
              <a:t>admodum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17" name="Picture Placeholder 19">
            <a:extLst>
              <a:ext uri="{FF2B5EF4-FFF2-40B4-BE49-F238E27FC236}">
                <a16:creationId xmlns:a16="http://schemas.microsoft.com/office/drawing/2014/main" id="{70E81591-07D5-438D-AAD4-4B9A889F448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589864" y="3578084"/>
            <a:ext cx="777600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5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B440ECC-CB43-49D3-ABF3-A5F4F308E7E2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16443451-BD62-4038-B74A-41D61B4BAA36}" type="datetime3">
              <a:rPr lang="en-US" smtClean="0"/>
              <a:t>18 October 2021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4279E38-5A0D-4584-B4BB-113C1A4C50C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3F8B89-1ED7-4BD8-90B0-47F3DF32AD7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831835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Line 11">
            <a:extLst>
              <a:ext uri="{FF2B5EF4-FFF2-40B4-BE49-F238E27FC236}">
                <a16:creationId xmlns:a16="http://schemas.microsoft.com/office/drawing/2014/main" id="{7E606BA7-787F-40CD-BB00-3AEC32420A7E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8E9B660A-29E5-49A2-9D87-2D7C78CC1148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1" y="907750"/>
            <a:ext cx="8258782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7E05A20-B63F-4056-AEB2-E204776449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008048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289B58F7-33F8-4380-A3D2-FB25BD8C1D35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649782F-FB67-472E-B457-A8D4FC3228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84EC9CE-483F-4F19-937D-371A9A1279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7201" y="6516456"/>
            <a:ext cx="663066" cy="180000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Стр.</a:t>
            </a:r>
            <a:r>
              <a:rPr lang="en-GB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59328412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4">
            <a:extLst>
              <a:ext uri="{FF2B5EF4-FFF2-40B4-BE49-F238E27FC236}">
                <a16:creationId xmlns:a16="http://schemas.microsoft.com/office/drawing/2014/main" id="{54B0064F-CA12-4F8F-B694-23C41AD0F16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284464" y="6327648"/>
            <a:ext cx="402336" cy="412867"/>
            <a:chOff x="7110" y="4004"/>
            <a:chExt cx="191" cy="196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F93F004B-02B9-4455-A020-115CFB37BE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19F4E2CA-BA89-47F8-8C68-7CACFBAF82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32993525-96BF-457D-86C8-A5E217C20B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6" name="Date Placeholder 2">
            <a:extLst>
              <a:ext uri="{FF2B5EF4-FFF2-40B4-BE49-F238E27FC236}">
                <a16:creationId xmlns:a16="http://schemas.microsoft.com/office/drawing/2014/main" id="{D8973D65-036E-4D65-AAA3-1427C4AA0C9B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892301" y="6516456"/>
            <a:ext cx="1191258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8A70FFA-A8B2-4B11-862A-80DFBD743EB2}" type="datetime3">
              <a:rPr lang="en-US" smtClean="0"/>
              <a:t>18 October 2021</a:t>
            </a:fld>
            <a:endParaRPr lang="en-US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9711A3A-DB5C-4C5F-BF5A-7DBDD6EFF607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3321561" y="6516456"/>
            <a:ext cx="30861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40A4236-AC64-456A-B3F9-BED41065570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363093" y="6516456"/>
            <a:ext cx="663066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44529215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F607F99-5C2B-4FC6-A3DF-23E011C842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4464" y="6327648"/>
            <a:ext cx="402504" cy="411480"/>
          </a:xfrm>
          <a:prstGeom prst="rect">
            <a:avLst/>
          </a:prstGeom>
        </p:spPr>
      </p:pic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8FBE9395-9BF1-4306-9F29-1F8E92C9F8DB}"/>
              </a:ext>
            </a:extLst>
          </p:cNvPr>
          <p:cNvSpPr txBox="1">
            <a:spLocks/>
          </p:cNvSpPr>
          <p:nvPr userDrawn="1"/>
        </p:nvSpPr>
        <p:spPr>
          <a:xfrm>
            <a:off x="3757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20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87DD12F9-AC78-4784-A2C0-5FB6EC5A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1750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3BB2527F-4DCE-4CB5-A96D-2E432FD5A07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1750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7DFFB3C-E689-440E-8EDB-465853B3460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1750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09667CEE-F273-4416-9D45-A0E825F14911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284464" y="6327648"/>
            <a:ext cx="402336" cy="412867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3F5A26-EE33-4654-ACA2-880B36B275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325D6EF1-9951-4386-9E98-24FDBF5827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572CC147-C47E-4B17-9D76-D39D3C36CE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2200261236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BD7B1EAA-D62E-426F-9D29-F674CEB29C3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26000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 algn="ctr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C43D8C34-69FC-4DEE-BC95-D2F629475EB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26000" y="551683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78FCBB-C01D-4FF8-828E-0E27552CA9C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926000" y="582887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0AD41D48-C813-4F78-A2C8-0758D2B7DC18}"/>
              </a:ext>
            </a:extLst>
          </p:cNvPr>
          <p:cNvSpPr txBox="1">
            <a:spLocks/>
          </p:cNvSpPr>
          <p:nvPr userDrawn="1"/>
        </p:nvSpPr>
        <p:spPr>
          <a:xfrm>
            <a:off x="3402806" y="979787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20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FF60CB08-2DD7-4911-8D80-BCAC7944540B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284464" y="6327648"/>
            <a:ext cx="402336" cy="412867"/>
            <a:chOff x="7110" y="4004"/>
            <a:chExt cx="191" cy="196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C7E6D8E8-E311-4EB7-AFAA-50963EA7B1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53EFA7D4-C8AD-4C58-A0EE-C2B700393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E459CDB2-C2F0-4E1A-AC90-F93C856AA5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2411989995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1137920"/>
            <a:ext cx="6175841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67319">
              <a:defRPr>
                <a:solidFill>
                  <a:schemeClr val="bg1"/>
                </a:solidFill>
              </a:defRPr>
            </a:lvl2pPr>
            <a:lvl3pPr marL="534639">
              <a:defRPr>
                <a:solidFill>
                  <a:schemeClr val="bg1"/>
                </a:solidFill>
              </a:defRPr>
            </a:lvl3pPr>
            <a:lvl4pPr marL="801958">
              <a:defRPr>
                <a:solidFill>
                  <a:schemeClr val="bg1"/>
                </a:solidFill>
              </a:defRPr>
            </a:lvl4pPr>
            <a:lvl5pPr marL="1069277"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BF0A34-C36D-461B-A015-21A5DA63B5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377A9D-01E8-4B60-A401-6494A9CA400F}" type="datetime3">
              <a:rPr lang="en-US" smtClean="0"/>
              <a:t>18 October 2021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ECF0E1-C505-48F8-AD92-7D8685FF48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682A11-B39D-4FE0-A53D-0F1661DE05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89762786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03DAEA1-6A90-4FC2-97C7-E8CE039143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7A752-AE67-4983-8591-8A71B3DA1547}" type="datetime3">
              <a:rPr lang="en-US" smtClean="0"/>
              <a:t>18 October 2021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B819100-2154-4CEF-A4AE-869A873311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B93803-CB8A-4830-8E96-5C407868A0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24286801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1" y="1137919"/>
            <a:ext cx="4038600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1" y="1137919"/>
            <a:ext cx="4038600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E1BDE01-7D08-4922-9259-4581BC33C3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388126-B400-468F-9A3E-2AC7C657BE07}" type="datetime3">
              <a:rPr lang="en-US" smtClean="0"/>
              <a:t>18 October 2021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29C6724-47E1-45B5-B455-099BFD53BB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8340A57-5875-43E6-BEEA-8CEBCDCA30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89275283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9247" y="1869441"/>
            <a:ext cx="4042800" cy="4256075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7304" y="1869441"/>
            <a:ext cx="4042800" cy="4256075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1" y="1137920"/>
            <a:ext cx="40428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47304" y="1137920"/>
            <a:ext cx="40428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FCA5F9A-0842-4BED-A447-9C3F6915DCD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640DA7-90B0-46B1-B3B8-58B0BC666552}" type="datetime3">
              <a:rPr lang="en-US" smtClean="0"/>
              <a:t>18 October 2021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8AD82-A588-4EFB-A956-62AC671AB8A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F77DB56-43F3-4932-8420-FA767EBAB47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58523807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B7547C-9236-44B2-927D-EE1C7DF06D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09C390-09CD-42A7-A893-2368E96C6619}" type="datetime3">
              <a:rPr lang="en-US" smtClean="0"/>
              <a:t>18 October 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E2AC0F-F4F4-46F1-8E38-470CA2132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B301A4-CE65-4914-B017-DED28C2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56173914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3A9D79-13D5-4189-B325-32C1E30071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7ABB18-1DD0-404D-AC21-D0D71E2A2384}" type="datetime3">
              <a:rPr lang="en-US" smtClean="0"/>
              <a:t>18 October 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690CD3-106E-4E37-A338-7D12BDB87E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97AA2E-8C14-46B6-80A1-837B7775D6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1350784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813CB0-F911-4F63-ADF4-31E748E46E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98EBDB-E30E-4215-8A25-B5526CA67001}" type="datetime3">
              <a:rPr lang="en-US" smtClean="0"/>
              <a:t>18 October 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E00D68-E42E-4E18-97BC-09F3CC3C71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09C18C-4659-4936-9B48-47D9169929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193510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88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1" y="1137919"/>
            <a:ext cx="4038600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1" y="1137919"/>
            <a:ext cx="4038600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Line 10">
            <a:extLst>
              <a:ext uri="{FF2B5EF4-FFF2-40B4-BE49-F238E27FC236}">
                <a16:creationId xmlns:a16="http://schemas.microsoft.com/office/drawing/2014/main" id="{0C976817-4856-4880-A98A-B5A5C7C5542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1" y="907750"/>
            <a:ext cx="8258782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0AD8D47-C5CC-46B5-80A6-DC3E17F40E3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008048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9B3F0A65-38CD-4B16-8AED-B7D676692FDB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4B2D722-DDE7-4179-BC15-25906CAE03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4756507-1FEF-43F0-A228-A0F4A38D3C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7201" y="6516456"/>
            <a:ext cx="663066" cy="180000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Стр.</a:t>
            </a:r>
            <a:r>
              <a:rPr lang="en-GB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5967541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1F7CA26-2B7B-4622-93A8-93EC10CCBE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C4515-D111-43BB-94F9-DF10016318F5}" type="datetime3">
              <a:rPr lang="en-US" smtClean="0"/>
              <a:t>18 October 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0E24E25-AADE-42B5-BB07-A8C5FC7FBF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9B93A4-EF49-4605-8E7D-22AB1304F1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A3678118-FB9F-46C1-A6F2-3E42EC5536B0}"/>
              </a:ext>
            </a:extLst>
          </p:cNvPr>
          <p:cNvSpPr>
            <a:spLocks/>
          </p:cNvSpPr>
          <p:nvPr userDrawn="1"/>
        </p:nvSpPr>
        <p:spPr bwMode="gray">
          <a:xfrm>
            <a:off x="457200" y="1039815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6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1D46014-541B-4C37-8BD9-33F3A3BE76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544561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58AD78-6C49-405F-80BD-8F5F9CFAD7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7AF88F-27A8-4393-9FE5-9C9CAD4EAA12}" type="datetime3">
              <a:rPr lang="en-US" smtClean="0"/>
              <a:t>18 October 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A3A6C55-F277-42AF-8500-E16F039B9A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368E36-B58F-4FD6-B92E-04754A1D83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58207987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9144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E480A10-F3A8-4482-9A96-E4A2985059D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E66A415F-A996-466D-B67D-F489420C242A}" type="datetime3">
              <a:rPr lang="en-US" smtClean="0"/>
              <a:t>18 October 2021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D942338-84D5-44C7-ADEC-04C9C56CF23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AC4917-7B6B-475D-AAE6-8F714438F25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63539314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719139"/>
            <a:ext cx="3506400" cy="5210062"/>
          </a:xfrm>
        </p:spPr>
        <p:txBody>
          <a:bodyPr/>
          <a:lstStyle>
            <a:lvl1pPr marL="0" indent="0" algn="l" defTabSz="746124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9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32089" indent="-13208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41609" indent="-14160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27758411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44208722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67954" y="0"/>
            <a:ext cx="4476046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1936" y="2050889"/>
            <a:ext cx="3401698" cy="1055708"/>
          </a:xfrm>
        </p:spPr>
        <p:txBody>
          <a:bodyPr/>
          <a:lstStyle>
            <a:lvl1pPr marL="0" indent="0">
              <a:buNone/>
              <a:defRPr sz="2249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1936" y="3312530"/>
            <a:ext cx="3401698" cy="1055708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E59B594-94BE-43F4-8A51-56A02D3520A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0FFEC888-2653-4547-978E-732FC2A67F55}" type="datetime3">
              <a:rPr lang="en-US" smtClean="0"/>
              <a:t>18 October 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3D76FF3-5668-471F-96BC-86222958B48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C144E7-F1A6-43D5-9337-069D87B113F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90022834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064" y="2504281"/>
            <a:ext cx="3334113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6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9" marR="0" lvl="0" indent="-267319" defTabSz="75551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42413CE-C4D0-4ABD-A496-80941F07BDB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3998BE7-631B-49F2-A362-51028BF9AFEC}" type="datetime3">
              <a:rPr lang="en-US" smtClean="0"/>
              <a:t>18 October 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6AF2A22-94A3-41BF-9F87-44E3FEF33B4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5C79A1-12F2-4F8B-A8F3-F46D58F4CB3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79507327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787414" cy="6857999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20418" y="294200"/>
            <a:ext cx="6665528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020417" y="1137921"/>
            <a:ext cx="2056091" cy="5018184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293076" y="1137921"/>
            <a:ext cx="2101787" cy="5018184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6611431" y="1137922"/>
            <a:ext cx="2075369" cy="2796151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Line 10">
            <a:extLst>
              <a:ext uri="{FF2B5EF4-FFF2-40B4-BE49-F238E27FC236}">
                <a16:creationId xmlns:a16="http://schemas.microsoft.com/office/drawing/2014/main" id="{1FE654FB-261F-44E5-8EF9-237DB835D71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023353" y="907750"/>
            <a:ext cx="669263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3AD698-0E41-4FCF-AB31-51B8D1AE402F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9D61DB04-5AFD-4123-92F3-7B4B7B5794AB}" type="datetime3">
              <a:rPr lang="en-US" smtClean="0"/>
              <a:t>18 October 2021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9018413-4A60-4C02-9E4A-E0257623113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74983C1-0EF4-4B2C-97F2-6888EAEE5D8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457201" y="6516456"/>
            <a:ext cx="663066" cy="180000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Стр.</a:t>
            </a:r>
            <a:r>
              <a:rPr lang="en-GB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99855687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9C0DD7D-5B2C-4539-8FE2-07617C2EF1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4248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9C0DD7D-5B2C-4539-8FE2-07617C2EF1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128D225-A95C-4182-BE44-3E9027AF283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ru-RU" sz="3000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945AD81-9D09-493D-94B8-1CAA625F68C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0361" y="5340096"/>
            <a:ext cx="987552" cy="1156968"/>
          </a:xfrm>
          <a:prstGeom prst="rect">
            <a:avLst/>
          </a:prstGeom>
        </p:spPr>
      </p:pic>
      <p:sp>
        <p:nvSpPr>
          <p:cNvPr id="7" name="Freeform 5">
            <a:extLst>
              <a:ext uri="{FF2B5EF4-FFF2-40B4-BE49-F238E27FC236}">
                <a16:creationId xmlns:a16="http://schemas.microsoft.com/office/drawing/2014/main" id="{B7F2A12E-7729-47A0-BC4C-937A569C1503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70054" y="457199"/>
            <a:ext cx="4507059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306FE6B-2888-42EC-9409-22E0C44C3E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6326" y="1476597"/>
            <a:ext cx="4064949" cy="860400"/>
          </a:xfrm>
        </p:spPr>
        <p:txBody>
          <a:bodyPr/>
          <a:lstStyle>
            <a:lvl1pPr>
              <a:defRPr sz="3000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ru-RU"/>
              <a:t>Стимулирование развития золотодобывающей отрасли Казахстана</a:t>
            </a:r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2FC3DF6-2861-4293-9E33-F3E405EF9F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6325" y="3337832"/>
            <a:ext cx="4064949" cy="3912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 b="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ru-RU">
                <a:solidFill>
                  <a:schemeClr val="bg1"/>
                </a:solidFill>
              </a:rPr>
              <a:t>Август, 2020</a:t>
            </a:r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9996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/>
        </p:nvCxnSpPr>
        <p:spPr>
          <a:xfrm>
            <a:off x="999368" y="5709060"/>
            <a:ext cx="6088405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/>
        </p:nvSpPr>
        <p:spPr>
          <a:xfrm>
            <a:off x="346308" y="5605201"/>
            <a:ext cx="783397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90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9368" y="6019189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99368" y="6216807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0F898568-1B78-454B-9FE7-9E37EEF85A89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70054" y="457199"/>
            <a:ext cx="4507059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C105A121-2DA3-4610-BC32-EBB7F8ABAFD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6326" y="1476597"/>
            <a:ext cx="3813414" cy="860400"/>
          </a:xfrm>
        </p:spPr>
        <p:txBody>
          <a:bodyPr/>
          <a:lstStyle>
            <a:lvl1pPr>
              <a:defRPr sz="3000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/>
              <a:t>Title (EY Interstate Light 30 point)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61BB2EE4-E5D4-4DD9-97C5-CF16A0A2327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6327" y="2422864"/>
            <a:ext cx="3813414" cy="64574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600"/>
              <a:t>Subtitle (EY Interstate 16 point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b="1"/>
              <a:t>XX Month 200X (EY Interstate bold 16 point)</a:t>
            </a:r>
            <a:endParaRPr lang="en-GB" sz="1600"/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403A0AAB-2D99-480E-8BCB-0300B2E4CA7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88" y="5340350"/>
            <a:ext cx="987425" cy="1157288"/>
            <a:chOff x="4857" y="3364"/>
            <a:chExt cx="622" cy="729"/>
          </a:xfrm>
        </p:grpSpPr>
        <p:sp>
          <p:nvSpPr>
            <p:cNvPr id="6" name="AutoShape 3">
              <a:extLst>
                <a:ext uri="{FF2B5EF4-FFF2-40B4-BE49-F238E27FC236}">
                  <a16:creationId xmlns:a16="http://schemas.microsoft.com/office/drawing/2014/main" id="{136D971F-E278-4FE8-BAE4-2AD4D04270F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1954568E-D3F2-4EA1-8901-CBA2FF03DD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E19C9D94-B5B9-4323-A444-83000773662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tx1"/>
                </a:solidFill>
              </a:endParaRPr>
            </a:p>
          </p:txBody>
        </p:sp>
      </p:grp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14F1DE27-AD0C-4A9A-9D8D-4F823ECEAD7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6306" y="5914642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5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6597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5">
            <a:extLst>
              <a:ext uri="{FF2B5EF4-FFF2-40B4-BE49-F238E27FC236}">
                <a16:creationId xmlns:a16="http://schemas.microsoft.com/office/drawing/2014/main" id="{770C05D4-D8C4-4691-89DC-120E06C0A0E8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70054" y="457199"/>
            <a:ext cx="4507059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750119" y="1677507"/>
            <a:ext cx="3957735" cy="860400"/>
          </a:xfrm>
        </p:spPr>
        <p:txBody>
          <a:bodyPr/>
          <a:lstStyle>
            <a:lvl1pPr>
              <a:defRPr sz="3000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 dirty="0"/>
              <a:t>Title (EY Interstate </a:t>
            </a:r>
            <a:r>
              <a:rPr lang="en-GB"/>
              <a:t>Light 30 </a:t>
            </a:r>
            <a:r>
              <a:rPr lang="en-GB" dirty="0"/>
              <a:t>point)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50119" y="2685128"/>
            <a:ext cx="3957735" cy="64574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600" dirty="0"/>
              <a:t>Subtitle (EY Interstate 16 point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GB" dirty="0">
                <a:latin typeface="EYInterstate" panose="02000503020000020004" pitchFamily="2" charset="0"/>
              </a:rPr>
              <a:t>XX Month 200X (EY Interstate bold 16 point)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77AB755-0634-43A3-B427-C896D8448ABA}"/>
              </a:ext>
            </a:extLst>
          </p:cNvPr>
          <p:cNvCxnSpPr>
            <a:cxnSpLocks/>
          </p:cNvCxnSpPr>
          <p:nvPr userDrawn="1"/>
        </p:nvCxnSpPr>
        <p:spPr>
          <a:xfrm>
            <a:off x="1333184" y="5691442"/>
            <a:ext cx="5669280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5246095A-D7CE-45C6-8BF9-B5543F78C034}"/>
              </a:ext>
            </a:extLst>
          </p:cNvPr>
          <p:cNvSpPr txBox="1"/>
          <p:nvPr userDrawn="1"/>
        </p:nvSpPr>
        <p:spPr>
          <a:xfrm>
            <a:off x="461984" y="5587582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9D785C9C-C30C-4D97-AE69-8F7DD8E35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184" y="6001571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  <a:latin typeface="EYInterstate Light" panose="02000506000000020004" pitchFamily="2" charset="0"/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E9ED2CF-644F-4B9E-820F-6BF4B84D684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184" y="6199189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rgbClr val="FFD200"/>
                </a:solidFill>
                <a:latin typeface="EYInterstate Light" panose="02000506000000020004" pitchFamily="2" charset="0"/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9" name="Picture Placeholder 19">
            <a:extLst>
              <a:ext uri="{FF2B5EF4-FFF2-40B4-BE49-F238E27FC236}">
                <a16:creationId xmlns:a16="http://schemas.microsoft.com/office/drawing/2014/main" id="{220D652C-43A8-4888-A086-F26EAFCF8D7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983" y="5897024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  <a:latin typeface="EYInterstate Light" panose="02000506000000020004" pitchFamily="2" charset="0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9396E1D-5C76-4ADE-9002-02AC4DD83A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0361" y="5340096"/>
            <a:ext cx="987552" cy="1156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51798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9247" y="1869441"/>
            <a:ext cx="4042800" cy="4256075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7304" y="1869441"/>
            <a:ext cx="4042800" cy="4256075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1" y="1137920"/>
            <a:ext cx="40428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47304" y="1137920"/>
            <a:ext cx="40428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88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Line 10">
            <a:extLst>
              <a:ext uri="{FF2B5EF4-FFF2-40B4-BE49-F238E27FC236}">
                <a16:creationId xmlns:a16="http://schemas.microsoft.com/office/drawing/2014/main" id="{04B06CAE-5FB1-4603-B59C-091CBDD47D4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1" y="907750"/>
            <a:ext cx="8258782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9CF6F0C-8419-4816-9E6B-8941D50C588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2008048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AEE5400E-56C9-4D39-BE03-DFE798881D89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637EFC1-5CA0-4BFB-8363-27F8F3D2336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3B86835-09D6-4615-BB7C-7F8253C03F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57201" y="6516456"/>
            <a:ext cx="663066" cy="180000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Стр.</a:t>
            </a:r>
            <a:r>
              <a:rPr lang="en-GB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38143602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/>
        </p:nvCxnSpPr>
        <p:spPr>
          <a:xfrm>
            <a:off x="999368" y="5709060"/>
            <a:ext cx="6088405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/>
        </p:nvSpPr>
        <p:spPr>
          <a:xfrm>
            <a:off x="346308" y="5605201"/>
            <a:ext cx="783397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90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6308" y="6019189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6308" y="6216807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sp>
        <p:nvSpPr>
          <p:cNvPr id="18" name="Freeform 5">
            <a:extLst>
              <a:ext uri="{FF2B5EF4-FFF2-40B4-BE49-F238E27FC236}">
                <a16:creationId xmlns:a16="http://schemas.microsoft.com/office/drawing/2014/main" id="{160A7550-5D67-4923-A7BC-21E832215440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70054" y="457199"/>
            <a:ext cx="4507059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D57A982A-5252-472B-BD55-97D51532138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6326" y="1476597"/>
            <a:ext cx="3813414" cy="860400"/>
          </a:xfrm>
        </p:spPr>
        <p:txBody>
          <a:bodyPr/>
          <a:lstStyle>
            <a:lvl1pPr>
              <a:defRPr sz="3000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/>
              <a:t>Title (EY Interstate Light 30 point)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F809C9F7-7674-4F00-8A7B-4EBDB5F94FB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6327" y="2422864"/>
            <a:ext cx="3813414" cy="64574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600"/>
              <a:t>Subtitle (EY Interstate 16 point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b="1"/>
              <a:t>XX Month 200X (EY Interstate bold 16 point)</a:t>
            </a:r>
            <a:endParaRPr lang="en-GB" sz="1600"/>
          </a:p>
        </p:txBody>
      </p:sp>
      <p:grpSp>
        <p:nvGrpSpPr>
          <p:cNvPr id="22" name="Group 4">
            <a:extLst>
              <a:ext uri="{FF2B5EF4-FFF2-40B4-BE49-F238E27FC236}">
                <a16:creationId xmlns:a16="http://schemas.microsoft.com/office/drawing/2014/main" id="{2FBA4DFB-2D74-4887-91FA-9FE36EADD25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88" y="5340350"/>
            <a:ext cx="987425" cy="1157288"/>
            <a:chOff x="4857" y="3364"/>
            <a:chExt cx="622" cy="729"/>
          </a:xfrm>
        </p:grpSpPr>
        <p:sp>
          <p:nvSpPr>
            <p:cNvPr id="23" name="AutoShape 3">
              <a:extLst>
                <a:ext uri="{FF2B5EF4-FFF2-40B4-BE49-F238E27FC236}">
                  <a16:creationId xmlns:a16="http://schemas.microsoft.com/office/drawing/2014/main" id="{B223B0E3-13DC-4092-840F-C19C33D0170D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720F86E7-783D-48A5-9A99-BBE51AD8BB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8EA618E4-F6E6-47C9-85C3-E1EF97EB6DF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42596337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5">
            <a:extLst>
              <a:ext uri="{FF2B5EF4-FFF2-40B4-BE49-F238E27FC236}">
                <a16:creationId xmlns:a16="http://schemas.microsoft.com/office/drawing/2014/main" id="{770C05D4-D8C4-4691-89DC-120E06C0A0E8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70054" y="457199"/>
            <a:ext cx="4507059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750119" y="1677507"/>
            <a:ext cx="3957735" cy="860400"/>
          </a:xfrm>
        </p:spPr>
        <p:txBody>
          <a:bodyPr/>
          <a:lstStyle>
            <a:lvl1pPr>
              <a:defRPr sz="3000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/>
              <a:t>Title (EY Interstate Light 30 point)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50119" y="2685128"/>
            <a:ext cx="3957735" cy="64574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600"/>
              <a:t>Subtitle (EY Interstate 16 point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GB">
                <a:latin typeface="EYInterstate" panose="02000503020000020004" pitchFamily="2" charset="0"/>
              </a:rPr>
              <a:t>XX Month 200X (EY Interstate bold 16 point)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77AB755-0634-43A3-B427-C896D8448ABA}"/>
              </a:ext>
            </a:extLst>
          </p:cNvPr>
          <p:cNvCxnSpPr>
            <a:cxnSpLocks/>
          </p:cNvCxnSpPr>
          <p:nvPr userDrawn="1"/>
        </p:nvCxnSpPr>
        <p:spPr>
          <a:xfrm>
            <a:off x="1333184" y="5691442"/>
            <a:ext cx="5669280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5246095A-D7CE-45C6-8BF9-B5543F78C034}"/>
              </a:ext>
            </a:extLst>
          </p:cNvPr>
          <p:cNvSpPr txBox="1"/>
          <p:nvPr userDrawn="1"/>
        </p:nvSpPr>
        <p:spPr>
          <a:xfrm>
            <a:off x="461984" y="5587582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9D785C9C-C30C-4D97-AE69-8F7DD8E35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184" y="6001571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  <a:latin typeface="EYInterstate Light" panose="02000506000000020004" pitchFamily="2" charset="0"/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E9ED2CF-644F-4B9E-820F-6BF4B84D684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184" y="6199189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rgbClr val="FFD200"/>
                </a:solidFill>
                <a:latin typeface="EYInterstate Light" panose="02000506000000020004" pitchFamily="2" charset="0"/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sp>
        <p:nvSpPr>
          <p:cNvPr id="19" name="Picture Placeholder 19">
            <a:extLst>
              <a:ext uri="{FF2B5EF4-FFF2-40B4-BE49-F238E27FC236}">
                <a16:creationId xmlns:a16="http://schemas.microsoft.com/office/drawing/2014/main" id="{220D652C-43A8-4888-A086-F26EAFCF8D7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983" y="5897024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  <a:latin typeface="EYInterstate Light" panose="02000506000000020004" pitchFamily="2" charset="0"/>
              </a:defRPr>
            </a:lvl1pPr>
          </a:lstStyle>
          <a:p>
            <a:endParaRPr lang="en-GB"/>
          </a:p>
        </p:txBody>
      </p:sp>
      <p:grpSp>
        <p:nvGrpSpPr>
          <p:cNvPr id="20" name="Group 4">
            <a:extLst>
              <a:ext uri="{FF2B5EF4-FFF2-40B4-BE49-F238E27FC236}">
                <a16:creationId xmlns:a16="http://schemas.microsoft.com/office/drawing/2014/main" id="{2FBA4DFB-2D74-4887-91FA-9FE36EADD25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88" y="5340350"/>
            <a:ext cx="987425" cy="1157288"/>
            <a:chOff x="4857" y="3364"/>
            <a:chExt cx="622" cy="729"/>
          </a:xfrm>
        </p:grpSpPr>
        <p:sp>
          <p:nvSpPr>
            <p:cNvPr id="21" name="AutoShape 3">
              <a:extLst>
                <a:ext uri="{FF2B5EF4-FFF2-40B4-BE49-F238E27FC236}">
                  <a16:creationId xmlns:a16="http://schemas.microsoft.com/office/drawing/2014/main" id="{B223B0E3-13DC-4092-840F-C19C33D0170D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720F86E7-783D-48A5-9A99-BBE51AD8BB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8EA618E4-F6E6-47C9-85C3-E1EF97EB6DF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4198564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Picture 118">
            <a:extLst>
              <a:ext uri="{FF2B5EF4-FFF2-40B4-BE49-F238E27FC236}">
                <a16:creationId xmlns:a16="http://schemas.microsoft.com/office/drawing/2014/main" id="{EAA736A0-D2E9-4CA1-BF9F-5E33CF39B8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457200"/>
            <a:ext cx="4654295" cy="3930900"/>
          </a:xfrm>
          <a:prstGeom prst="rect">
            <a:avLst/>
          </a:prstGeom>
        </p:spPr>
      </p:pic>
      <p:grpSp>
        <p:nvGrpSpPr>
          <p:cNvPr id="79" name="Group 4">
            <a:extLst>
              <a:ext uri="{FF2B5EF4-FFF2-40B4-BE49-F238E27FC236}">
                <a16:creationId xmlns:a16="http://schemas.microsoft.com/office/drawing/2014/main" id="{A159D8C9-C19B-4DF7-9C5A-22EDB8A5FB9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88" y="5340350"/>
            <a:ext cx="987425" cy="1157288"/>
            <a:chOff x="4857" y="3364"/>
            <a:chExt cx="622" cy="729"/>
          </a:xfrm>
        </p:grpSpPr>
        <p:sp>
          <p:nvSpPr>
            <p:cNvPr id="80" name="AutoShape 3">
              <a:extLst>
                <a:ext uri="{FF2B5EF4-FFF2-40B4-BE49-F238E27FC236}">
                  <a16:creationId xmlns:a16="http://schemas.microsoft.com/office/drawing/2014/main" id="{D95FB310-FD8D-4315-8C3A-8966DC1515AB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1" name="Freeform 5">
              <a:extLst>
                <a:ext uri="{FF2B5EF4-FFF2-40B4-BE49-F238E27FC236}">
                  <a16:creationId xmlns:a16="http://schemas.microsoft.com/office/drawing/2014/main" id="{B0F72F2B-2B88-4D56-A5C3-5C83787BA0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2" name="Freeform 6">
              <a:extLst>
                <a:ext uri="{FF2B5EF4-FFF2-40B4-BE49-F238E27FC236}">
                  <a16:creationId xmlns:a16="http://schemas.microsoft.com/office/drawing/2014/main" id="{900DB62A-8F2A-4742-9C40-2FC7AA18235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pic>
        <p:nvPicPr>
          <p:cNvPr id="83" name="Picture 82">
            <a:extLst>
              <a:ext uri="{FF2B5EF4-FFF2-40B4-BE49-F238E27FC236}">
                <a16:creationId xmlns:a16="http://schemas.microsoft.com/office/drawing/2014/main" id="{23B9FB7E-B586-4378-AE43-0A9B9CA0B98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5914517"/>
            <a:ext cx="3780000" cy="618750"/>
          </a:xfrm>
          <a:prstGeom prst="rect">
            <a:avLst/>
          </a:prstGeom>
        </p:spPr>
      </p:pic>
      <p:sp>
        <p:nvSpPr>
          <p:cNvPr id="124" name="Subtitle 2">
            <a:extLst>
              <a:ext uri="{FF2B5EF4-FFF2-40B4-BE49-F238E27FC236}">
                <a16:creationId xmlns:a16="http://schemas.microsoft.com/office/drawing/2014/main" id="{DE813F69-7E98-49B9-A563-B5D224235BE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8191" y="2825612"/>
            <a:ext cx="3612689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FFFFFF"/>
                </a:solidFill>
              </a:defRPr>
            </a:lvl2pPr>
            <a:lvl3pPr marL="0" indent="0" algn="l">
              <a:buNone/>
              <a:defRPr sz="1600">
                <a:solidFill>
                  <a:srgbClr val="FFFFFF"/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25" name="Title 1">
            <a:extLst>
              <a:ext uri="{FF2B5EF4-FFF2-40B4-BE49-F238E27FC236}">
                <a16:creationId xmlns:a16="http://schemas.microsoft.com/office/drawing/2014/main" id="{6135F81D-3120-4669-8305-5AB7CAA0504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88191" y="1855166"/>
            <a:ext cx="3612689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72486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5" name="Group 4">
            <a:extLst>
              <a:ext uri="{FF2B5EF4-FFF2-40B4-BE49-F238E27FC236}">
                <a16:creationId xmlns:a16="http://schemas.microsoft.com/office/drawing/2014/main" id="{916D9572-5294-4C0A-83C4-99E45F89495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88" y="5340350"/>
            <a:ext cx="987425" cy="1157288"/>
            <a:chOff x="4857" y="3364"/>
            <a:chExt cx="622" cy="729"/>
          </a:xfrm>
        </p:grpSpPr>
        <p:sp>
          <p:nvSpPr>
            <p:cNvPr id="86" name="AutoShape 3">
              <a:extLst>
                <a:ext uri="{FF2B5EF4-FFF2-40B4-BE49-F238E27FC236}">
                  <a16:creationId xmlns:a16="http://schemas.microsoft.com/office/drawing/2014/main" id="{5667BEF9-3DFA-4239-A852-71BA27EC8E18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7" name="Freeform 5">
              <a:extLst>
                <a:ext uri="{FF2B5EF4-FFF2-40B4-BE49-F238E27FC236}">
                  <a16:creationId xmlns:a16="http://schemas.microsoft.com/office/drawing/2014/main" id="{7E85CBCB-BA9A-4374-A431-F4DC5F8079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8" name="Freeform 6">
              <a:extLst>
                <a:ext uri="{FF2B5EF4-FFF2-40B4-BE49-F238E27FC236}">
                  <a16:creationId xmlns:a16="http://schemas.microsoft.com/office/drawing/2014/main" id="{5C0EF3BA-6104-4E1B-9F18-E642314A9A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pic>
        <p:nvPicPr>
          <p:cNvPr id="89" name="Picture 88">
            <a:extLst>
              <a:ext uri="{FF2B5EF4-FFF2-40B4-BE49-F238E27FC236}">
                <a16:creationId xmlns:a16="http://schemas.microsoft.com/office/drawing/2014/main" id="{BEA87971-BB0B-4ED2-8AC3-71D5B1159A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777240"/>
            <a:ext cx="6753225" cy="3400425"/>
          </a:xfrm>
          <a:prstGeom prst="rect">
            <a:avLst/>
          </a:prstGeom>
        </p:spPr>
      </p:pic>
      <p:sp>
        <p:nvSpPr>
          <p:cNvPr id="90" name="Subtitle 2">
            <a:extLst>
              <a:ext uri="{FF2B5EF4-FFF2-40B4-BE49-F238E27FC236}">
                <a16:creationId xmlns:a16="http://schemas.microsoft.com/office/drawing/2014/main" id="{D57E11BD-E2D9-41B1-9EF5-FF1EA0B8EB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8191" y="3258529"/>
            <a:ext cx="5943432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FFFFFF"/>
                </a:solidFill>
              </a:defRPr>
            </a:lvl2pPr>
            <a:lvl3pPr marL="0" indent="0" algn="l">
              <a:buNone/>
              <a:defRPr sz="1600">
                <a:solidFill>
                  <a:srgbClr val="FFFFFF"/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91" name="Title 1">
            <a:extLst>
              <a:ext uri="{FF2B5EF4-FFF2-40B4-BE49-F238E27FC236}">
                <a16:creationId xmlns:a16="http://schemas.microsoft.com/office/drawing/2014/main" id="{9E850DE9-7D5E-499B-8FA1-4143F639E0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88191" y="2288083"/>
            <a:ext cx="5943432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92" name="Picture 91">
            <a:extLst>
              <a:ext uri="{FF2B5EF4-FFF2-40B4-BE49-F238E27FC236}">
                <a16:creationId xmlns:a16="http://schemas.microsoft.com/office/drawing/2014/main" id="{620AFF6A-D70F-482C-ACA4-D71330481F1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5914517"/>
            <a:ext cx="3780000" cy="61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7272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1137920"/>
            <a:ext cx="82296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8197805-0689-4503-8125-F783F93171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555964-F03E-4F32-AACA-575982F487AA}" type="datetime3">
              <a:rPr lang="en-US" smtClean="0"/>
              <a:t>18 October 2021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180DED-A206-48B8-8395-C38D75067D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21560" y="6516456"/>
            <a:ext cx="3695465" cy="1800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584CBDA-5400-4C9D-A814-1CE6E3FD4F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43439530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A80CEA2-D107-4E43-B632-8CAB22A8CA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2F35D1-52AC-4F9E-8221-5A6C6588FF5A}" type="datetime3">
              <a:rPr lang="en-US" smtClean="0"/>
              <a:t>18 October 2021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3FCC4BD-E0C7-4008-8760-F505B7C870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>
                <a:solidFill>
                  <a:srgbClr val="2E2E38"/>
                </a:solidFill>
              </a:rPr>
              <a:t>Анализ вклада отрасли добычи и переработки золота в экономику и социальное развитие Республики Казахстан</a:t>
            </a:r>
            <a:endParaRPr lang="ru-RU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3ED2ADF-C3C7-4D61-8B10-4ED75087C3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93584047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46139" y="1"/>
            <a:ext cx="2997862" cy="615610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558041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1137921"/>
            <a:ext cx="5471882" cy="873760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57201" y="2311401"/>
            <a:ext cx="2683690" cy="3844704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3245392" y="2311402"/>
            <a:ext cx="2683690" cy="1254759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245392" y="4236721"/>
            <a:ext cx="2683690" cy="1944160"/>
          </a:xfrm>
        </p:spPr>
        <p:txBody>
          <a:bodyPr numCol="1"/>
          <a:lstStyle>
            <a:lvl1pPr marL="0" indent="0">
              <a:buNone/>
              <a:defRPr sz="134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5789875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031161-0EF0-4994-BAAC-817AFCD5564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4D13AE1-CDD5-4239-9690-9A653E83D2DB}" type="datetime3">
              <a:rPr lang="en-US" smtClean="0"/>
              <a:t>18 October 2021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4A1A6EA-628B-40CB-AD7E-45CB0B91C2D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099134-47E0-4E77-855E-45C10B9B8B1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54133428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787414" cy="685799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20418" y="294200"/>
            <a:ext cx="6665528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020417" y="1137921"/>
            <a:ext cx="2056091" cy="5018184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293076" y="1137921"/>
            <a:ext cx="2101787" cy="5018184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611431" y="1137922"/>
            <a:ext cx="2075369" cy="2796151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/>
        </p:nvSpPr>
        <p:spPr bwMode="auto">
          <a:xfrm>
            <a:off x="2020418" y="907750"/>
            <a:ext cx="6665528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E1076-97C0-41B2-AAE5-AD919BB2DC2E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4B100986-BBA6-4BEB-BD6C-A0A1374B7651}" type="datetime3">
              <a:rPr lang="en-US" smtClean="0"/>
              <a:t>18 October 2021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A40DA20-3A42-4B9D-A853-92BEABFB15B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C6E24F-B7C3-43FD-BF17-E37070A300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43888129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1137920"/>
            <a:ext cx="6175841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95E81C-0962-435D-B7CC-E9E7007F1F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209354-91C1-4794-958B-51CF9C6AB685}" type="datetime3">
              <a:rPr lang="en-US" smtClean="0"/>
              <a:t>18 October 2021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CDD1B3-89EC-47BA-A26E-D040220115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9ACB01-FCA5-4FE1-B210-29952B46CA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70369757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4463" y="2851522"/>
            <a:ext cx="3334113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699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9" marR="0" lvl="0" indent="-267319" defTabSz="75551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ACF31FF-92C4-4CFE-89C8-231A1B4903B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6A21565-2143-446D-871D-9600E9345199}" type="datetime3">
              <a:rPr lang="en-US" smtClean="0"/>
              <a:t>18 October 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B72E31-AECD-4259-BF90-99398FE128B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DE2F2A-9E13-4DC5-89FE-0719F2B171F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24319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27E8263-DCF1-4C67-90D8-C34A99A7A0B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008048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7EEFFA79-B43B-4E07-8325-44A5BA1A1990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E39A50-9EF9-4531-9496-997ED3A26D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6CA5048-1D32-4032-B513-417B769802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7201" y="6516456"/>
            <a:ext cx="663066" cy="180000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Стр.</a:t>
            </a:r>
            <a:r>
              <a:rPr lang="en-GB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88220953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4463" y="2851522"/>
            <a:ext cx="3334113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699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9" marR="0" lvl="0" indent="-267319" defTabSz="75551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B824A25-AAE3-42CE-906A-12D97307C1F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FEDCAE92-F3A1-4186-9DA0-119B0FA456C3}" type="datetime3">
              <a:rPr lang="en-US" smtClean="0"/>
              <a:t>18 October 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DD7A84-5352-4432-83C2-4B3F3BD889A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5019A7-134D-49ED-8707-807B58B2E5D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34899503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67954" y="0"/>
            <a:ext cx="4476046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7135" y="2578743"/>
            <a:ext cx="3401698" cy="1055708"/>
          </a:xfrm>
        </p:spPr>
        <p:txBody>
          <a:bodyPr/>
          <a:lstStyle>
            <a:lvl1pPr marL="0" indent="0">
              <a:buNone/>
              <a:defRPr sz="2249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77135" y="3840384"/>
            <a:ext cx="3401698" cy="1055708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DA49F8-A774-4DD1-8745-65E01AB0472C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BE07B384-71AC-4F1F-BD81-B5CDF3D62515}" type="datetime3">
              <a:rPr lang="en-US" smtClean="0"/>
              <a:t>18 October 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4C0F4CC-50C9-4C20-A16A-91535919DC9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53C557-8F9C-4613-8095-373D3EE8052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20324663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457200" y="1137921"/>
            <a:ext cx="3716193" cy="4267457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41864" y="3813288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1864" y="4055931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 to go here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89866" y="1137921"/>
            <a:ext cx="409693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89866" y="1635009"/>
            <a:ext cx="4096935" cy="1611554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US"/>
              <a:t>Content EY Interstate Light, 12pt, Lorem ipsum dolor, 12pt, </a:t>
            </a:r>
            <a:r>
              <a:rPr lang="en-US" err="1"/>
              <a:t>Utin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abhorreant</a:t>
            </a:r>
            <a:r>
              <a:rPr lang="en-US"/>
              <a:t> </a:t>
            </a:r>
            <a:r>
              <a:rPr lang="en-US" err="1"/>
              <a:t>sead</a:t>
            </a:r>
            <a:r>
              <a:rPr lang="en-US"/>
              <a:t>. </a:t>
            </a:r>
            <a:r>
              <a:rPr lang="en-US" err="1"/>
              <a:t>Putant</a:t>
            </a:r>
            <a:r>
              <a:rPr lang="en-US"/>
              <a:t> </a:t>
            </a:r>
            <a:r>
              <a:rPr lang="en-US" err="1"/>
              <a:t>probatus</a:t>
            </a:r>
            <a:r>
              <a:rPr lang="en-US"/>
              <a:t> id vis, ad his </a:t>
            </a:r>
            <a:r>
              <a:rPr lang="en-US" err="1"/>
              <a:t>meis</a:t>
            </a:r>
            <a:r>
              <a:rPr lang="en-US"/>
              <a:t> </a:t>
            </a:r>
            <a:r>
              <a:rPr lang="en-US" err="1"/>
              <a:t>habemus</a:t>
            </a:r>
            <a:r>
              <a:rPr lang="en-US"/>
              <a:t> </a:t>
            </a:r>
            <a:r>
              <a:rPr lang="en-US" err="1"/>
              <a:t>repudiare</a:t>
            </a:r>
            <a:r>
              <a:rPr lang="en-US"/>
              <a:t>, has an </a:t>
            </a:r>
            <a:r>
              <a:rPr lang="en-US" err="1"/>
              <a:t>pericula</a:t>
            </a:r>
            <a:r>
              <a:rPr lang="en-US"/>
              <a:t> </a:t>
            </a:r>
            <a:r>
              <a:rPr lang="en-US" err="1"/>
              <a:t>tractato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debitis</a:t>
            </a:r>
            <a:r>
              <a:rPr lang="en-US"/>
              <a:t> </a:t>
            </a:r>
            <a:r>
              <a:rPr lang="en-US" err="1"/>
              <a:t>dissentias</a:t>
            </a:r>
            <a:r>
              <a:rPr lang="en-US"/>
              <a:t> ad. </a:t>
            </a:r>
            <a:r>
              <a:rPr lang="en-US" err="1"/>
              <a:t>Patrioque</a:t>
            </a:r>
            <a:r>
              <a:rPr lang="en-US"/>
              <a:t> </a:t>
            </a:r>
            <a:r>
              <a:rPr lang="en-US" err="1"/>
              <a:t>voluptatum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ex, id </a:t>
            </a:r>
            <a:r>
              <a:rPr lang="en-US" err="1"/>
              <a:t>admodum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17" name="Picture Placeholder 19">
            <a:extLst>
              <a:ext uri="{FF2B5EF4-FFF2-40B4-BE49-F238E27FC236}">
                <a16:creationId xmlns:a16="http://schemas.microsoft.com/office/drawing/2014/main" id="{70E81591-07D5-438D-AAD4-4B9A889F448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589864" y="3578084"/>
            <a:ext cx="777600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5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B440ECC-CB43-49D3-ABF3-A5F4F308E7E2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49A06DC0-B822-4C3B-BB64-53243DAD9E63}" type="datetime3">
              <a:rPr lang="en-US" smtClean="0"/>
              <a:t>18 October 2021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4279E38-5A0D-4584-B4BB-113C1A4C50C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3F8B89-1ED7-4BD8-90B0-47F3DF32AD7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91092659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4">
            <a:extLst>
              <a:ext uri="{FF2B5EF4-FFF2-40B4-BE49-F238E27FC236}">
                <a16:creationId xmlns:a16="http://schemas.microsoft.com/office/drawing/2014/main" id="{54B0064F-CA12-4F8F-B694-23C41AD0F16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284464" y="6327648"/>
            <a:ext cx="402336" cy="412867"/>
            <a:chOff x="7110" y="4004"/>
            <a:chExt cx="191" cy="196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F93F004B-02B9-4455-A020-115CFB37BE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19F4E2CA-BA89-47F8-8C68-7CACFBAF82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32993525-96BF-457D-86C8-A5E217C20B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6" name="Date Placeholder 2">
            <a:extLst>
              <a:ext uri="{FF2B5EF4-FFF2-40B4-BE49-F238E27FC236}">
                <a16:creationId xmlns:a16="http://schemas.microsoft.com/office/drawing/2014/main" id="{D8973D65-036E-4D65-AAA3-1427C4AA0C9B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892301" y="6516456"/>
            <a:ext cx="1191258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6942FFC-10D4-4ADC-A896-B21E45BE7B6C}" type="datetime3">
              <a:rPr lang="en-US" smtClean="0"/>
              <a:t>18 October 2021</a:t>
            </a:fld>
            <a:endParaRPr lang="en-US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9711A3A-DB5C-4C5F-BF5A-7DBDD6EFF607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3321561" y="6516456"/>
            <a:ext cx="30861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40A4236-AC64-456A-B3F9-BED41065570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363093" y="6516456"/>
            <a:ext cx="663066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74220590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F607F99-5C2B-4FC6-A3DF-23E011C842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4464" y="6327648"/>
            <a:ext cx="402504" cy="411480"/>
          </a:xfrm>
          <a:prstGeom prst="rect">
            <a:avLst/>
          </a:prstGeom>
        </p:spPr>
      </p:pic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8FBE9395-9BF1-4306-9F29-1F8E92C9F8DB}"/>
              </a:ext>
            </a:extLst>
          </p:cNvPr>
          <p:cNvSpPr txBox="1">
            <a:spLocks/>
          </p:cNvSpPr>
          <p:nvPr userDrawn="1"/>
        </p:nvSpPr>
        <p:spPr>
          <a:xfrm>
            <a:off x="3757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20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87DD12F9-AC78-4784-A2C0-5FB6EC5A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1750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3BB2527F-4DCE-4CB5-A96D-2E432FD5A07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1750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7DFFB3C-E689-440E-8EDB-465853B3460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1750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09667CEE-F273-4416-9D45-A0E825F14911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284464" y="6327648"/>
            <a:ext cx="402336" cy="412867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3F5A26-EE33-4654-ACA2-880B36B275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325D6EF1-9951-4386-9E98-24FDBF5827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572CC147-C47E-4B17-9D76-D39D3C36CE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202972483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BD7B1EAA-D62E-426F-9D29-F674CEB29C3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26000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 algn="ctr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C43D8C34-69FC-4DEE-BC95-D2F629475EB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26000" y="551683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78FCBB-C01D-4FF8-828E-0E27552CA9C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926000" y="582887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0AD41D48-C813-4F78-A2C8-0758D2B7DC18}"/>
              </a:ext>
            </a:extLst>
          </p:cNvPr>
          <p:cNvSpPr txBox="1">
            <a:spLocks/>
          </p:cNvSpPr>
          <p:nvPr userDrawn="1"/>
        </p:nvSpPr>
        <p:spPr>
          <a:xfrm>
            <a:off x="3402806" y="979787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20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FF60CB08-2DD7-4911-8D80-BCAC7944540B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284464" y="6327648"/>
            <a:ext cx="402336" cy="412867"/>
            <a:chOff x="7110" y="4004"/>
            <a:chExt cx="191" cy="196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C7E6D8E8-E311-4EB7-AFAA-50963EA7B1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53EFA7D4-C8AD-4C58-A0EE-C2B700393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E459CDB2-C2F0-4E1A-AC90-F93C856AA5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2515092338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1137920"/>
            <a:ext cx="6175841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67319">
              <a:defRPr>
                <a:solidFill>
                  <a:schemeClr val="bg1"/>
                </a:solidFill>
              </a:defRPr>
            </a:lvl2pPr>
            <a:lvl3pPr marL="534639">
              <a:defRPr>
                <a:solidFill>
                  <a:schemeClr val="bg1"/>
                </a:solidFill>
              </a:defRPr>
            </a:lvl3pPr>
            <a:lvl4pPr marL="801958">
              <a:defRPr>
                <a:solidFill>
                  <a:schemeClr val="bg1"/>
                </a:solidFill>
              </a:defRPr>
            </a:lvl4pPr>
            <a:lvl5pPr marL="1069277"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BF0A34-C36D-461B-A015-21A5DA63B5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374C7A-1CB0-4812-9EDA-0406224AFB22}" type="datetime3">
              <a:rPr lang="en-US" smtClean="0"/>
              <a:t>18 October 2021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ECF0E1-C505-48F8-AD92-7D8685FF48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682A11-B39D-4FE0-A53D-0F1661DE05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74087438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03DAEA1-6A90-4FC2-97C7-E8CE039143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4F8554-379E-427F-9777-06FFB0C8C9A6}" type="datetime3">
              <a:rPr lang="en-US" smtClean="0"/>
              <a:t>18 October 2021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B819100-2154-4CEF-A4AE-869A873311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B93803-CB8A-4830-8E96-5C407868A0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87912983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1" y="1137919"/>
            <a:ext cx="4038600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1" y="1137919"/>
            <a:ext cx="4038600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E1BDE01-7D08-4922-9259-4581BC33C3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202B8B-3C51-420D-B6F2-54C03EDA0040}" type="datetime3">
              <a:rPr lang="en-US" smtClean="0"/>
              <a:t>18 October 2021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29C6724-47E1-45B5-B455-099BFD53BB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8340A57-5875-43E6-BEEA-8CEBCDCA30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63133241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9247" y="1869441"/>
            <a:ext cx="4042800" cy="4256075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7304" y="1869441"/>
            <a:ext cx="4042800" cy="4256075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1" y="1137920"/>
            <a:ext cx="40428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47304" y="1137920"/>
            <a:ext cx="40428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FCA5F9A-0842-4BED-A447-9C3F6915DCD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4DD0E35-7C18-494C-BF6C-7CEACC7FF792}" type="datetime3">
              <a:rPr lang="en-US" smtClean="0"/>
              <a:t>18 October 2021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8AD82-A588-4EFB-A956-62AC671AB8A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F77DB56-43F3-4932-8420-FA767EBAB47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370185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5CA287C-1B1C-48E4-A41F-63B310387C5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008048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5DC8D855-B00E-424E-8A8D-B2A1263F6042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A876A3-22CA-4258-8697-755EB013E6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0498EB-F4E6-41EC-B31B-6FE074BF6C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7201" y="6516456"/>
            <a:ext cx="663066" cy="180000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Стр.</a:t>
            </a:r>
            <a:r>
              <a:rPr lang="en-GB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00399941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B7547C-9236-44B2-927D-EE1C7DF06D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55F35D-8B62-4F47-BBD2-CA4C5B4249C8}" type="datetime3">
              <a:rPr lang="en-US" smtClean="0"/>
              <a:t>18 October 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E2AC0F-F4F4-46F1-8E38-470CA2132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B301A4-CE65-4914-B017-DED28C2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52084871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3A9D79-13D5-4189-B325-32C1E30071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4D5FA-F3E4-469C-B79D-EABC5084621F}" type="datetime3">
              <a:rPr lang="en-US" smtClean="0"/>
              <a:t>18 October 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690CD3-106E-4E37-A338-7D12BDB87E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97AA2E-8C14-46B6-80A1-837B7775D6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37813330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813CB0-F911-4F63-ADF4-31E748E46E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5F0F67-1CF0-4087-B506-B43B6A7461A4}" type="datetime3">
              <a:rPr lang="en-US" smtClean="0"/>
              <a:t>18 October 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E00D68-E42E-4E18-97BC-09F3CC3C71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09C18C-4659-4936-9B48-47D9169929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749970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1F7CA26-2B7B-4622-93A8-93EC10CCBE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C55565-102E-47A5-8EB7-489D3CA24DB3}" type="datetime3">
              <a:rPr lang="en-US" smtClean="0"/>
              <a:t>18 October 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0E24E25-AADE-42B5-BB07-A8C5FC7FBF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9B93A4-EF49-4605-8E7D-22AB1304F1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A3678118-FB9F-46C1-A6F2-3E42EC5536B0}"/>
              </a:ext>
            </a:extLst>
          </p:cNvPr>
          <p:cNvSpPr>
            <a:spLocks/>
          </p:cNvSpPr>
          <p:nvPr userDrawn="1"/>
        </p:nvSpPr>
        <p:spPr bwMode="gray">
          <a:xfrm>
            <a:off x="457200" y="1039815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6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1D46014-541B-4C37-8BD9-33F3A3BE76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462023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58AD78-6C49-405F-80BD-8F5F9CFAD7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CA52A4-6068-4407-86BC-43BE6F370FEE}" type="datetime3">
              <a:rPr lang="en-US" smtClean="0"/>
              <a:t>18 October 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A3A6C55-F277-42AF-8500-E16F039B9A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368E36-B58F-4FD6-B92E-04754A1D83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2696454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9144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E480A10-F3A8-4482-9A96-E4A2985059D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9C831109-0B12-4337-9D17-70FBA909CE7B}" type="datetime3">
              <a:rPr lang="en-US" smtClean="0"/>
              <a:t>18 October 2021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D942338-84D5-44C7-ADEC-04C9C56CF23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AC4917-7B6B-475D-AAE6-8F714438F25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3549010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719139"/>
            <a:ext cx="3506400" cy="5210062"/>
          </a:xfrm>
        </p:spPr>
        <p:txBody>
          <a:bodyPr/>
          <a:lstStyle>
            <a:lvl1pPr marL="0" indent="0" algn="l" defTabSz="746124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9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32089" indent="-13208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41609" indent="-14160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1608053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17962085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67954" y="0"/>
            <a:ext cx="4476046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1936" y="2050889"/>
            <a:ext cx="3401698" cy="1055708"/>
          </a:xfrm>
        </p:spPr>
        <p:txBody>
          <a:bodyPr/>
          <a:lstStyle>
            <a:lvl1pPr marL="0" indent="0">
              <a:buNone/>
              <a:defRPr sz="2249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1936" y="3312530"/>
            <a:ext cx="3401698" cy="1055708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E59B594-94BE-43F4-8A51-56A02D3520A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1332AF1D-D6DC-4443-A58C-5DDFDD28CDA9}" type="datetime3">
              <a:rPr lang="en-US" smtClean="0"/>
              <a:t>18 October 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3D76FF3-5668-471F-96BC-86222958B48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C144E7-F1A6-43D5-9337-069D87B113F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09388739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064" y="2504281"/>
            <a:ext cx="3334113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6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9" marR="0" lvl="0" indent="-267319" defTabSz="75551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42413CE-C4D0-4ABD-A496-80941F07BDB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84CA9EF5-16BD-49AF-AA5D-EAFAF15604EC}" type="datetime3">
              <a:rPr lang="en-US" smtClean="0"/>
              <a:t>18 October 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6AF2A22-94A3-41BF-9F87-44E3FEF33B4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5C79A1-12F2-4F8B-A8F3-F46D58F4CB3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6281887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1794857-4245-4B70-83AF-69EE8341292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008048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A5C2E6A7-6B29-4B43-BE46-0E23327D456C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716D39F-AAFD-4EAB-BBF7-D94D820E8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C8219F-D640-4BE4-BEBF-30B96F2AF6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7201" y="6516456"/>
            <a:ext cx="663066" cy="180000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Стр.</a:t>
            </a:r>
            <a:r>
              <a:rPr lang="en-GB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035945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787414" cy="6857999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20418" y="294200"/>
            <a:ext cx="6665528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020417" y="1137921"/>
            <a:ext cx="2056091" cy="5018184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293076" y="1137921"/>
            <a:ext cx="2101787" cy="5018184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6611431" y="1137922"/>
            <a:ext cx="2075369" cy="2796151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Line 10">
            <a:extLst>
              <a:ext uri="{FF2B5EF4-FFF2-40B4-BE49-F238E27FC236}">
                <a16:creationId xmlns:a16="http://schemas.microsoft.com/office/drawing/2014/main" id="{1FE654FB-261F-44E5-8EF9-237DB835D71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023353" y="907750"/>
            <a:ext cx="669263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3AD698-0E41-4FCF-AB31-51B8D1AE402F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60A5C460-CE4C-4DBC-9759-D996BB9E290B}" type="datetime3">
              <a:rPr lang="en-US" smtClean="0"/>
              <a:t>18 October 2021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9018413-4A60-4C02-9E4A-E0257623113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74983C1-0EF4-4B2C-97F2-6888EAEE5D8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457201" y="6516456"/>
            <a:ext cx="663066" cy="180000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Стр.</a:t>
            </a:r>
            <a:r>
              <a:rPr lang="en-GB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95633043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9C0DD7D-5B2C-4539-8FE2-07617C2EF1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4787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9C0DD7D-5B2C-4539-8FE2-07617C2EF1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128D225-A95C-4182-BE44-3E9027AF283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ru-RU" sz="3000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945AD81-9D09-493D-94B8-1CAA625F68C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0361" y="5340096"/>
            <a:ext cx="987552" cy="1156968"/>
          </a:xfrm>
          <a:prstGeom prst="rect">
            <a:avLst/>
          </a:prstGeom>
        </p:spPr>
      </p:pic>
      <p:sp>
        <p:nvSpPr>
          <p:cNvPr id="7" name="Freeform 5">
            <a:extLst>
              <a:ext uri="{FF2B5EF4-FFF2-40B4-BE49-F238E27FC236}">
                <a16:creationId xmlns:a16="http://schemas.microsoft.com/office/drawing/2014/main" id="{B7F2A12E-7729-47A0-BC4C-937A569C1503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70054" y="457199"/>
            <a:ext cx="4507059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306FE6B-2888-42EC-9409-22E0C44C3E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6326" y="1476597"/>
            <a:ext cx="4064949" cy="860400"/>
          </a:xfrm>
        </p:spPr>
        <p:txBody>
          <a:bodyPr/>
          <a:lstStyle>
            <a:lvl1pPr>
              <a:defRPr sz="3000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ru-RU"/>
              <a:t>Стимулирование развития золотодобывающей отрасли Казахстана</a:t>
            </a:r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2FC3DF6-2861-4293-9E33-F3E405EF9F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6325" y="3337832"/>
            <a:ext cx="4064949" cy="3912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 b="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ru-RU">
                <a:solidFill>
                  <a:schemeClr val="bg1"/>
                </a:solidFill>
              </a:rPr>
              <a:t>Август, 2020</a:t>
            </a:r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8552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/>
        </p:nvCxnSpPr>
        <p:spPr>
          <a:xfrm>
            <a:off x="999368" y="5709060"/>
            <a:ext cx="6088405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/>
        </p:nvSpPr>
        <p:spPr>
          <a:xfrm>
            <a:off x="346308" y="5605201"/>
            <a:ext cx="783397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90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9368" y="6019189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99368" y="6216807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0F898568-1B78-454B-9FE7-9E37EEF85A89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70054" y="457199"/>
            <a:ext cx="4507059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C105A121-2DA3-4610-BC32-EBB7F8ABAFD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6326" y="1476597"/>
            <a:ext cx="3813414" cy="860400"/>
          </a:xfrm>
        </p:spPr>
        <p:txBody>
          <a:bodyPr/>
          <a:lstStyle>
            <a:lvl1pPr>
              <a:defRPr sz="3000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/>
              <a:t>Title (EY Interstate Light 30 point)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61BB2EE4-E5D4-4DD9-97C5-CF16A0A2327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6327" y="2422864"/>
            <a:ext cx="3813414" cy="64574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600"/>
              <a:t>Subtitle (EY Interstate 16 point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b="1"/>
              <a:t>XX Month 200X (EY Interstate bold 16 point)</a:t>
            </a:r>
            <a:endParaRPr lang="en-GB" sz="1600"/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403A0AAB-2D99-480E-8BCB-0300B2E4CA7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88" y="5340350"/>
            <a:ext cx="987425" cy="1157288"/>
            <a:chOff x="4857" y="3364"/>
            <a:chExt cx="622" cy="729"/>
          </a:xfrm>
        </p:grpSpPr>
        <p:sp>
          <p:nvSpPr>
            <p:cNvPr id="6" name="AutoShape 3">
              <a:extLst>
                <a:ext uri="{FF2B5EF4-FFF2-40B4-BE49-F238E27FC236}">
                  <a16:creationId xmlns:a16="http://schemas.microsoft.com/office/drawing/2014/main" id="{136D971F-E278-4FE8-BAE4-2AD4D04270F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1954568E-D3F2-4EA1-8901-CBA2FF03DD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E19C9D94-B5B9-4323-A444-83000773662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tx1"/>
                </a:solidFill>
              </a:endParaRPr>
            </a:p>
          </p:txBody>
        </p:sp>
      </p:grp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14F1DE27-AD0C-4A9A-9D8D-4F823ECEAD7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6306" y="5914642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5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21661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/>
        </p:nvCxnSpPr>
        <p:spPr>
          <a:xfrm>
            <a:off x="999368" y="5709060"/>
            <a:ext cx="6088405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/>
        </p:nvSpPr>
        <p:spPr>
          <a:xfrm>
            <a:off x="346308" y="5605201"/>
            <a:ext cx="783397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90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6308" y="6019189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6308" y="6216807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sp>
        <p:nvSpPr>
          <p:cNvPr id="18" name="Freeform 5">
            <a:extLst>
              <a:ext uri="{FF2B5EF4-FFF2-40B4-BE49-F238E27FC236}">
                <a16:creationId xmlns:a16="http://schemas.microsoft.com/office/drawing/2014/main" id="{160A7550-5D67-4923-A7BC-21E832215440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70054" y="457199"/>
            <a:ext cx="4507059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D57A982A-5252-472B-BD55-97D51532138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6326" y="1476597"/>
            <a:ext cx="3813414" cy="860400"/>
          </a:xfrm>
        </p:spPr>
        <p:txBody>
          <a:bodyPr/>
          <a:lstStyle>
            <a:lvl1pPr>
              <a:defRPr sz="3000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/>
              <a:t>Title (EY Interstate Light 30 point)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F809C9F7-7674-4F00-8A7B-4EBDB5F94FB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6327" y="2422864"/>
            <a:ext cx="3813414" cy="64574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600"/>
              <a:t>Subtitle (EY Interstate 16 point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b="1"/>
              <a:t>XX Month 200X (EY Interstate bold 16 point)</a:t>
            </a:r>
            <a:endParaRPr lang="en-GB" sz="1600"/>
          </a:p>
        </p:txBody>
      </p:sp>
      <p:grpSp>
        <p:nvGrpSpPr>
          <p:cNvPr id="22" name="Group 4">
            <a:extLst>
              <a:ext uri="{FF2B5EF4-FFF2-40B4-BE49-F238E27FC236}">
                <a16:creationId xmlns:a16="http://schemas.microsoft.com/office/drawing/2014/main" id="{2FBA4DFB-2D74-4887-91FA-9FE36EADD25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88" y="5340350"/>
            <a:ext cx="987425" cy="1157288"/>
            <a:chOff x="4857" y="3364"/>
            <a:chExt cx="622" cy="729"/>
          </a:xfrm>
        </p:grpSpPr>
        <p:sp>
          <p:nvSpPr>
            <p:cNvPr id="23" name="AutoShape 3">
              <a:extLst>
                <a:ext uri="{FF2B5EF4-FFF2-40B4-BE49-F238E27FC236}">
                  <a16:creationId xmlns:a16="http://schemas.microsoft.com/office/drawing/2014/main" id="{B223B0E3-13DC-4092-840F-C19C33D0170D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720F86E7-783D-48A5-9A99-BBE51AD8BB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8EA618E4-F6E6-47C9-85C3-E1EF97EB6DF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35722589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5">
            <a:extLst>
              <a:ext uri="{FF2B5EF4-FFF2-40B4-BE49-F238E27FC236}">
                <a16:creationId xmlns:a16="http://schemas.microsoft.com/office/drawing/2014/main" id="{770C05D4-D8C4-4691-89DC-120E06C0A0E8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70054" y="457199"/>
            <a:ext cx="4507059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750119" y="1677507"/>
            <a:ext cx="3957735" cy="860400"/>
          </a:xfrm>
        </p:spPr>
        <p:txBody>
          <a:bodyPr/>
          <a:lstStyle>
            <a:lvl1pPr>
              <a:defRPr sz="3000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/>
              <a:t>Title (EY Interstate Light 30 point)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50119" y="2685128"/>
            <a:ext cx="3957735" cy="64574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600"/>
              <a:t>Subtitle (EY Interstate 16 point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GB">
                <a:latin typeface="EYInterstate" panose="02000503020000020004" pitchFamily="2" charset="0"/>
              </a:rPr>
              <a:t>XX Month 200X (EY Interstate bold 16 point)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77AB755-0634-43A3-B427-C896D8448ABA}"/>
              </a:ext>
            </a:extLst>
          </p:cNvPr>
          <p:cNvCxnSpPr>
            <a:cxnSpLocks/>
          </p:cNvCxnSpPr>
          <p:nvPr userDrawn="1"/>
        </p:nvCxnSpPr>
        <p:spPr>
          <a:xfrm>
            <a:off x="1333184" y="5691442"/>
            <a:ext cx="5669280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5246095A-D7CE-45C6-8BF9-B5543F78C034}"/>
              </a:ext>
            </a:extLst>
          </p:cNvPr>
          <p:cNvSpPr txBox="1"/>
          <p:nvPr userDrawn="1"/>
        </p:nvSpPr>
        <p:spPr>
          <a:xfrm>
            <a:off x="461984" y="5587582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9D785C9C-C30C-4D97-AE69-8F7DD8E35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184" y="6001571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  <a:latin typeface="EYInterstate Light" panose="02000506000000020004" pitchFamily="2" charset="0"/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E9ED2CF-644F-4B9E-820F-6BF4B84D684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184" y="6199189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rgbClr val="FFD200"/>
                </a:solidFill>
                <a:latin typeface="EYInterstate Light" panose="02000506000000020004" pitchFamily="2" charset="0"/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sp>
        <p:nvSpPr>
          <p:cNvPr id="19" name="Picture Placeholder 19">
            <a:extLst>
              <a:ext uri="{FF2B5EF4-FFF2-40B4-BE49-F238E27FC236}">
                <a16:creationId xmlns:a16="http://schemas.microsoft.com/office/drawing/2014/main" id="{220D652C-43A8-4888-A086-F26EAFCF8D7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983" y="5897024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  <a:latin typeface="EYInterstate Light" panose="02000506000000020004" pitchFamily="2" charset="0"/>
              </a:defRPr>
            </a:lvl1pPr>
          </a:lstStyle>
          <a:p>
            <a:endParaRPr lang="en-GB"/>
          </a:p>
        </p:txBody>
      </p:sp>
      <p:grpSp>
        <p:nvGrpSpPr>
          <p:cNvPr id="20" name="Group 4">
            <a:extLst>
              <a:ext uri="{FF2B5EF4-FFF2-40B4-BE49-F238E27FC236}">
                <a16:creationId xmlns:a16="http://schemas.microsoft.com/office/drawing/2014/main" id="{2FBA4DFB-2D74-4887-91FA-9FE36EADD25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88" y="5340350"/>
            <a:ext cx="987425" cy="1157288"/>
            <a:chOff x="4857" y="3364"/>
            <a:chExt cx="622" cy="729"/>
          </a:xfrm>
        </p:grpSpPr>
        <p:sp>
          <p:nvSpPr>
            <p:cNvPr id="21" name="AutoShape 3">
              <a:extLst>
                <a:ext uri="{FF2B5EF4-FFF2-40B4-BE49-F238E27FC236}">
                  <a16:creationId xmlns:a16="http://schemas.microsoft.com/office/drawing/2014/main" id="{B223B0E3-13DC-4092-840F-C19C33D0170D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720F86E7-783D-48A5-9A99-BBE51AD8BB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8EA618E4-F6E6-47C9-85C3-E1EF97EB6DF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22744225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Picture 118">
            <a:extLst>
              <a:ext uri="{FF2B5EF4-FFF2-40B4-BE49-F238E27FC236}">
                <a16:creationId xmlns:a16="http://schemas.microsoft.com/office/drawing/2014/main" id="{EAA736A0-D2E9-4CA1-BF9F-5E33CF39B8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457200"/>
            <a:ext cx="4654295" cy="3930900"/>
          </a:xfrm>
          <a:prstGeom prst="rect">
            <a:avLst/>
          </a:prstGeom>
        </p:spPr>
      </p:pic>
      <p:grpSp>
        <p:nvGrpSpPr>
          <p:cNvPr id="79" name="Group 4">
            <a:extLst>
              <a:ext uri="{FF2B5EF4-FFF2-40B4-BE49-F238E27FC236}">
                <a16:creationId xmlns:a16="http://schemas.microsoft.com/office/drawing/2014/main" id="{A159D8C9-C19B-4DF7-9C5A-22EDB8A5FB9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88" y="5340350"/>
            <a:ext cx="987425" cy="1157288"/>
            <a:chOff x="4857" y="3364"/>
            <a:chExt cx="622" cy="729"/>
          </a:xfrm>
        </p:grpSpPr>
        <p:sp>
          <p:nvSpPr>
            <p:cNvPr id="80" name="AutoShape 3">
              <a:extLst>
                <a:ext uri="{FF2B5EF4-FFF2-40B4-BE49-F238E27FC236}">
                  <a16:creationId xmlns:a16="http://schemas.microsoft.com/office/drawing/2014/main" id="{D95FB310-FD8D-4315-8C3A-8966DC1515AB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1" name="Freeform 5">
              <a:extLst>
                <a:ext uri="{FF2B5EF4-FFF2-40B4-BE49-F238E27FC236}">
                  <a16:creationId xmlns:a16="http://schemas.microsoft.com/office/drawing/2014/main" id="{B0F72F2B-2B88-4D56-A5C3-5C83787BA0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2" name="Freeform 6">
              <a:extLst>
                <a:ext uri="{FF2B5EF4-FFF2-40B4-BE49-F238E27FC236}">
                  <a16:creationId xmlns:a16="http://schemas.microsoft.com/office/drawing/2014/main" id="{900DB62A-8F2A-4742-9C40-2FC7AA18235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pic>
        <p:nvPicPr>
          <p:cNvPr id="83" name="Picture 82">
            <a:extLst>
              <a:ext uri="{FF2B5EF4-FFF2-40B4-BE49-F238E27FC236}">
                <a16:creationId xmlns:a16="http://schemas.microsoft.com/office/drawing/2014/main" id="{23B9FB7E-B586-4378-AE43-0A9B9CA0B98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5914517"/>
            <a:ext cx="3780000" cy="618750"/>
          </a:xfrm>
          <a:prstGeom prst="rect">
            <a:avLst/>
          </a:prstGeom>
        </p:spPr>
      </p:pic>
      <p:sp>
        <p:nvSpPr>
          <p:cNvPr id="124" name="Subtitle 2">
            <a:extLst>
              <a:ext uri="{FF2B5EF4-FFF2-40B4-BE49-F238E27FC236}">
                <a16:creationId xmlns:a16="http://schemas.microsoft.com/office/drawing/2014/main" id="{DE813F69-7E98-49B9-A563-B5D224235BE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8191" y="2825612"/>
            <a:ext cx="3612689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FFFFFF"/>
                </a:solidFill>
              </a:defRPr>
            </a:lvl2pPr>
            <a:lvl3pPr marL="0" indent="0" algn="l">
              <a:buNone/>
              <a:defRPr sz="1600">
                <a:solidFill>
                  <a:srgbClr val="FFFFFF"/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25" name="Title 1">
            <a:extLst>
              <a:ext uri="{FF2B5EF4-FFF2-40B4-BE49-F238E27FC236}">
                <a16:creationId xmlns:a16="http://schemas.microsoft.com/office/drawing/2014/main" id="{6135F81D-3120-4669-8305-5AB7CAA0504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88191" y="1855166"/>
            <a:ext cx="3612689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07124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5" name="Group 4">
            <a:extLst>
              <a:ext uri="{FF2B5EF4-FFF2-40B4-BE49-F238E27FC236}">
                <a16:creationId xmlns:a16="http://schemas.microsoft.com/office/drawing/2014/main" id="{916D9572-5294-4C0A-83C4-99E45F89495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88" y="5340350"/>
            <a:ext cx="987425" cy="1157288"/>
            <a:chOff x="4857" y="3364"/>
            <a:chExt cx="622" cy="729"/>
          </a:xfrm>
        </p:grpSpPr>
        <p:sp>
          <p:nvSpPr>
            <p:cNvPr id="86" name="AutoShape 3">
              <a:extLst>
                <a:ext uri="{FF2B5EF4-FFF2-40B4-BE49-F238E27FC236}">
                  <a16:creationId xmlns:a16="http://schemas.microsoft.com/office/drawing/2014/main" id="{5667BEF9-3DFA-4239-A852-71BA27EC8E18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7" name="Freeform 5">
              <a:extLst>
                <a:ext uri="{FF2B5EF4-FFF2-40B4-BE49-F238E27FC236}">
                  <a16:creationId xmlns:a16="http://schemas.microsoft.com/office/drawing/2014/main" id="{7E85CBCB-BA9A-4374-A431-F4DC5F8079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8" name="Freeform 6">
              <a:extLst>
                <a:ext uri="{FF2B5EF4-FFF2-40B4-BE49-F238E27FC236}">
                  <a16:creationId xmlns:a16="http://schemas.microsoft.com/office/drawing/2014/main" id="{5C0EF3BA-6104-4E1B-9F18-E642314A9A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pic>
        <p:nvPicPr>
          <p:cNvPr id="89" name="Picture 88">
            <a:extLst>
              <a:ext uri="{FF2B5EF4-FFF2-40B4-BE49-F238E27FC236}">
                <a16:creationId xmlns:a16="http://schemas.microsoft.com/office/drawing/2014/main" id="{BEA87971-BB0B-4ED2-8AC3-71D5B1159A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777240"/>
            <a:ext cx="6753225" cy="3400425"/>
          </a:xfrm>
          <a:prstGeom prst="rect">
            <a:avLst/>
          </a:prstGeom>
        </p:spPr>
      </p:pic>
      <p:sp>
        <p:nvSpPr>
          <p:cNvPr id="90" name="Subtitle 2">
            <a:extLst>
              <a:ext uri="{FF2B5EF4-FFF2-40B4-BE49-F238E27FC236}">
                <a16:creationId xmlns:a16="http://schemas.microsoft.com/office/drawing/2014/main" id="{D57E11BD-E2D9-41B1-9EF5-FF1EA0B8EB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8191" y="3258529"/>
            <a:ext cx="5943432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FFFFFF"/>
                </a:solidFill>
              </a:defRPr>
            </a:lvl2pPr>
            <a:lvl3pPr marL="0" indent="0" algn="l">
              <a:buNone/>
              <a:defRPr sz="1600">
                <a:solidFill>
                  <a:srgbClr val="FFFFFF"/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91" name="Title 1">
            <a:extLst>
              <a:ext uri="{FF2B5EF4-FFF2-40B4-BE49-F238E27FC236}">
                <a16:creationId xmlns:a16="http://schemas.microsoft.com/office/drawing/2014/main" id="{9E850DE9-7D5E-499B-8FA1-4143F639E0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88191" y="2288083"/>
            <a:ext cx="5943432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92" name="Picture 91">
            <a:extLst>
              <a:ext uri="{FF2B5EF4-FFF2-40B4-BE49-F238E27FC236}">
                <a16:creationId xmlns:a16="http://schemas.microsoft.com/office/drawing/2014/main" id="{620AFF6A-D70F-482C-ACA4-D71330481F1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5914517"/>
            <a:ext cx="3780000" cy="61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91678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1137920"/>
            <a:ext cx="82296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8197805-0689-4503-8125-F783F93171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DE74DB-BF61-4630-AAB0-7CAFE7FBEF2C}" type="datetime3">
              <a:rPr lang="en-US" smtClean="0"/>
              <a:t>18 October 2021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180DED-A206-48B8-8395-C38D75067D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21560" y="6516456"/>
            <a:ext cx="3695465" cy="1800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584CBDA-5400-4C9D-A814-1CE6E3FD4F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65649034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A80CEA2-D107-4E43-B632-8CAB22A8CA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91CEC7-ED2B-4EAD-97A5-2CFA1133CDEA}" type="datetime3">
              <a:rPr lang="en-US" smtClean="0"/>
              <a:t>18 October 2021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3FCC4BD-E0C7-4008-8760-F505B7C870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>
                <a:solidFill>
                  <a:srgbClr val="2E2E38"/>
                </a:solidFill>
              </a:rPr>
              <a:t>Анализ вклада отрасли добычи и переработки золота в экономику и социальное развитие Республики Казахстан</a:t>
            </a:r>
            <a:endParaRPr lang="ru-RU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3ED2ADF-C3C7-4D61-8B10-4ED75087C3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78749884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46139" y="1"/>
            <a:ext cx="2997862" cy="615610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558041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1137921"/>
            <a:ext cx="5471882" cy="873760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57201" y="2311401"/>
            <a:ext cx="2683690" cy="3844704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3245392" y="2311402"/>
            <a:ext cx="2683690" cy="1254759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245392" y="4236721"/>
            <a:ext cx="2683690" cy="1944160"/>
          </a:xfrm>
        </p:spPr>
        <p:txBody>
          <a:bodyPr numCol="1"/>
          <a:lstStyle>
            <a:lvl1pPr marL="0" indent="0">
              <a:buNone/>
              <a:defRPr sz="134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5789875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031161-0EF0-4994-BAAC-817AFCD5564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2644FB1-356C-4D87-BF6D-16D7793D541A}" type="datetime3">
              <a:rPr lang="en-US" smtClean="0"/>
              <a:t>18 October 2021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4A1A6EA-628B-40CB-AD7E-45CB0B91C2D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099134-47E0-4E77-855E-45C10B9B8B1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5369470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EDA18EF-1F4C-4097-BF3F-A4B7A605023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008048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80CB4D4E-8614-4FFF-8B9D-183EA9284948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196BC2-80B0-49AE-A845-81937D49D1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03F6FC-E1D1-4971-AA75-4FA11D67A7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7201" y="6516456"/>
            <a:ext cx="663066" cy="180000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Стр.</a:t>
            </a:r>
            <a:r>
              <a:rPr lang="en-GB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922818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787414" cy="685799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20418" y="294200"/>
            <a:ext cx="6665528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020417" y="1137921"/>
            <a:ext cx="2056091" cy="5018184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293076" y="1137921"/>
            <a:ext cx="2101787" cy="5018184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611431" y="1137922"/>
            <a:ext cx="2075369" cy="2796151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/>
        </p:nvSpPr>
        <p:spPr bwMode="auto">
          <a:xfrm>
            <a:off x="2020418" y="907750"/>
            <a:ext cx="6665528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E1076-97C0-41B2-AAE5-AD919BB2DC2E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7E1BAEE0-91E9-439F-9789-62164EFEED9B}" type="datetime3">
              <a:rPr lang="en-US" smtClean="0"/>
              <a:t>18 October 2021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A40DA20-3A42-4B9D-A853-92BEABFB15B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C6E24F-B7C3-43FD-BF17-E37070A300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13844778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1137920"/>
            <a:ext cx="6175841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95E81C-0962-435D-B7CC-E9E7007F1F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09511E-AB07-48E4-8FB8-FDA76A320A92}" type="datetime3">
              <a:rPr lang="en-US" smtClean="0"/>
              <a:t>18 October 2021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CDD1B3-89EC-47BA-A26E-D040220115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9ACB01-FCA5-4FE1-B210-29952B46CA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52301968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4463" y="2851522"/>
            <a:ext cx="3334113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699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9" marR="0" lvl="0" indent="-267319" defTabSz="75551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ACF31FF-92C4-4CFE-89C8-231A1B4903B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56597518-859A-4F07-A4C3-9B8A758029D5}" type="datetime3">
              <a:rPr lang="en-US" smtClean="0"/>
              <a:t>18 October 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B72E31-AECD-4259-BF90-99398FE128B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DE2F2A-9E13-4DC5-89FE-0719F2B171F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64433397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4463" y="2851522"/>
            <a:ext cx="3334113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699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9" marR="0" lvl="0" indent="-267319" defTabSz="75551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B824A25-AAE3-42CE-906A-12D97307C1F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68AC5E1B-D1F2-4484-9CC7-70291D0E609D}" type="datetime3">
              <a:rPr lang="en-US" smtClean="0"/>
              <a:t>18 October 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DD7A84-5352-4432-83C2-4B3F3BD889A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5019A7-134D-49ED-8707-807B58B2E5D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52003648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67954" y="0"/>
            <a:ext cx="4476046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7135" y="2578743"/>
            <a:ext cx="3401698" cy="1055708"/>
          </a:xfrm>
        </p:spPr>
        <p:txBody>
          <a:bodyPr/>
          <a:lstStyle>
            <a:lvl1pPr marL="0" indent="0">
              <a:buNone/>
              <a:defRPr sz="2249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77135" y="3840384"/>
            <a:ext cx="3401698" cy="1055708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DA49F8-A774-4DD1-8745-65E01AB0472C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44FF5D2E-996E-492D-A3D2-DD65AEAAC3D3}" type="datetime3">
              <a:rPr lang="en-US" smtClean="0"/>
              <a:t>18 October 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4C0F4CC-50C9-4C20-A16A-91535919DC9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53C557-8F9C-4613-8095-373D3EE8052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69337644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457200" y="1137921"/>
            <a:ext cx="3716193" cy="4267457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41864" y="3813288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1864" y="4055931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 to go here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89866" y="1137921"/>
            <a:ext cx="409693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89866" y="1635009"/>
            <a:ext cx="4096935" cy="1611554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US"/>
              <a:t>Content EY Interstate Light, 12pt, Lorem ipsum dolor, 12pt, </a:t>
            </a:r>
            <a:r>
              <a:rPr lang="en-US" err="1"/>
              <a:t>Utin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abhorreant</a:t>
            </a:r>
            <a:r>
              <a:rPr lang="en-US"/>
              <a:t> </a:t>
            </a:r>
            <a:r>
              <a:rPr lang="en-US" err="1"/>
              <a:t>sead</a:t>
            </a:r>
            <a:r>
              <a:rPr lang="en-US"/>
              <a:t>. </a:t>
            </a:r>
            <a:r>
              <a:rPr lang="en-US" err="1"/>
              <a:t>Putant</a:t>
            </a:r>
            <a:r>
              <a:rPr lang="en-US"/>
              <a:t> </a:t>
            </a:r>
            <a:r>
              <a:rPr lang="en-US" err="1"/>
              <a:t>probatus</a:t>
            </a:r>
            <a:r>
              <a:rPr lang="en-US"/>
              <a:t> id vis, ad his </a:t>
            </a:r>
            <a:r>
              <a:rPr lang="en-US" err="1"/>
              <a:t>meis</a:t>
            </a:r>
            <a:r>
              <a:rPr lang="en-US"/>
              <a:t> </a:t>
            </a:r>
            <a:r>
              <a:rPr lang="en-US" err="1"/>
              <a:t>habemus</a:t>
            </a:r>
            <a:r>
              <a:rPr lang="en-US"/>
              <a:t> </a:t>
            </a:r>
            <a:r>
              <a:rPr lang="en-US" err="1"/>
              <a:t>repudiare</a:t>
            </a:r>
            <a:r>
              <a:rPr lang="en-US"/>
              <a:t>, has an </a:t>
            </a:r>
            <a:r>
              <a:rPr lang="en-US" err="1"/>
              <a:t>pericula</a:t>
            </a:r>
            <a:r>
              <a:rPr lang="en-US"/>
              <a:t> </a:t>
            </a:r>
            <a:r>
              <a:rPr lang="en-US" err="1"/>
              <a:t>tractato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debitis</a:t>
            </a:r>
            <a:r>
              <a:rPr lang="en-US"/>
              <a:t> </a:t>
            </a:r>
            <a:r>
              <a:rPr lang="en-US" err="1"/>
              <a:t>dissentias</a:t>
            </a:r>
            <a:r>
              <a:rPr lang="en-US"/>
              <a:t> ad. </a:t>
            </a:r>
            <a:r>
              <a:rPr lang="en-US" err="1"/>
              <a:t>Patrioque</a:t>
            </a:r>
            <a:r>
              <a:rPr lang="en-US"/>
              <a:t> </a:t>
            </a:r>
            <a:r>
              <a:rPr lang="en-US" err="1"/>
              <a:t>voluptatum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ex, id </a:t>
            </a:r>
            <a:r>
              <a:rPr lang="en-US" err="1"/>
              <a:t>admodum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17" name="Picture Placeholder 19">
            <a:extLst>
              <a:ext uri="{FF2B5EF4-FFF2-40B4-BE49-F238E27FC236}">
                <a16:creationId xmlns:a16="http://schemas.microsoft.com/office/drawing/2014/main" id="{70E81591-07D5-438D-AAD4-4B9A889F448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589864" y="3578084"/>
            <a:ext cx="777600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5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B440ECC-CB43-49D3-ABF3-A5F4F308E7E2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0B31A3D5-0D11-4E6B-8790-E946BB6D53E1}" type="datetime3">
              <a:rPr lang="en-US" smtClean="0"/>
              <a:t>18 October 2021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4279E38-5A0D-4584-B4BB-113C1A4C50C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3F8B89-1ED7-4BD8-90B0-47F3DF32AD7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24453476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4">
            <a:extLst>
              <a:ext uri="{FF2B5EF4-FFF2-40B4-BE49-F238E27FC236}">
                <a16:creationId xmlns:a16="http://schemas.microsoft.com/office/drawing/2014/main" id="{54B0064F-CA12-4F8F-B694-23C41AD0F16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284464" y="6327648"/>
            <a:ext cx="402336" cy="412867"/>
            <a:chOff x="7110" y="4004"/>
            <a:chExt cx="191" cy="196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F93F004B-02B9-4455-A020-115CFB37BE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19F4E2CA-BA89-47F8-8C68-7CACFBAF82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32993525-96BF-457D-86C8-A5E217C20B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6" name="Date Placeholder 2">
            <a:extLst>
              <a:ext uri="{FF2B5EF4-FFF2-40B4-BE49-F238E27FC236}">
                <a16:creationId xmlns:a16="http://schemas.microsoft.com/office/drawing/2014/main" id="{D8973D65-036E-4D65-AAA3-1427C4AA0C9B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892301" y="6516456"/>
            <a:ext cx="1191258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0B592E0-7989-450E-AAAE-77B7483B508A}" type="datetime3">
              <a:rPr lang="en-US" smtClean="0"/>
              <a:t>18 October 2021</a:t>
            </a:fld>
            <a:endParaRPr lang="en-US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9711A3A-DB5C-4C5F-BF5A-7DBDD6EFF607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3321561" y="6516456"/>
            <a:ext cx="30861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40A4236-AC64-456A-B3F9-BED41065570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363093" y="6516456"/>
            <a:ext cx="663066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68749721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F607F99-5C2B-4FC6-A3DF-23E011C842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4464" y="6327648"/>
            <a:ext cx="402504" cy="411480"/>
          </a:xfrm>
          <a:prstGeom prst="rect">
            <a:avLst/>
          </a:prstGeom>
        </p:spPr>
      </p:pic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8FBE9395-9BF1-4306-9F29-1F8E92C9F8DB}"/>
              </a:ext>
            </a:extLst>
          </p:cNvPr>
          <p:cNvSpPr txBox="1">
            <a:spLocks/>
          </p:cNvSpPr>
          <p:nvPr userDrawn="1"/>
        </p:nvSpPr>
        <p:spPr>
          <a:xfrm>
            <a:off x="3757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20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87DD12F9-AC78-4784-A2C0-5FB6EC5A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1750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3BB2527F-4DCE-4CB5-A96D-2E432FD5A07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1750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7DFFB3C-E689-440E-8EDB-465853B3460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1750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09667CEE-F273-4416-9D45-A0E825F14911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284464" y="6327648"/>
            <a:ext cx="402336" cy="412867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3F5A26-EE33-4654-ACA2-880B36B275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325D6EF1-9951-4386-9E98-24FDBF5827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572CC147-C47E-4B17-9D76-D39D3C36CE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989397162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BD7B1EAA-D62E-426F-9D29-F674CEB29C3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26000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 algn="ctr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C43D8C34-69FC-4DEE-BC95-D2F629475EB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26000" y="551683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78FCBB-C01D-4FF8-828E-0E27552CA9C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926000" y="582887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0AD41D48-C813-4F78-A2C8-0758D2B7DC18}"/>
              </a:ext>
            </a:extLst>
          </p:cNvPr>
          <p:cNvSpPr txBox="1">
            <a:spLocks/>
          </p:cNvSpPr>
          <p:nvPr userDrawn="1"/>
        </p:nvSpPr>
        <p:spPr>
          <a:xfrm>
            <a:off x="3402806" y="979787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20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FF60CB08-2DD7-4911-8D80-BCAC7944540B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284464" y="6327648"/>
            <a:ext cx="402336" cy="412867"/>
            <a:chOff x="7110" y="4004"/>
            <a:chExt cx="191" cy="196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C7E6D8E8-E311-4EB7-AFAA-50963EA7B1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53EFA7D4-C8AD-4C58-A0EE-C2B700393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E459CDB2-C2F0-4E1A-AC90-F93C856AA5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3519685118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1137920"/>
            <a:ext cx="6175841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67319">
              <a:defRPr>
                <a:solidFill>
                  <a:schemeClr val="bg1"/>
                </a:solidFill>
              </a:defRPr>
            </a:lvl2pPr>
            <a:lvl3pPr marL="534639">
              <a:defRPr>
                <a:solidFill>
                  <a:schemeClr val="bg1"/>
                </a:solidFill>
              </a:defRPr>
            </a:lvl3pPr>
            <a:lvl4pPr marL="801958">
              <a:defRPr>
                <a:solidFill>
                  <a:schemeClr val="bg1"/>
                </a:solidFill>
              </a:defRPr>
            </a:lvl4pPr>
            <a:lvl5pPr marL="1069277"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BF0A34-C36D-461B-A015-21A5DA63B5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167848-9E32-4FFB-975E-2D7F65E7608E}" type="datetime3">
              <a:rPr lang="en-US" smtClean="0"/>
              <a:t>18 October 2021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ECF0E1-C505-48F8-AD92-7D8685FF48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682A11-B39D-4FE0-A53D-0F1661DE05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8891958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05809876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03DAEA1-6A90-4FC2-97C7-E8CE039143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8F794D-67D6-4059-9D88-3E0997B0B388}" type="datetime3">
              <a:rPr lang="en-US" smtClean="0"/>
              <a:t>18 October 2021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B819100-2154-4CEF-A4AE-869A873311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B93803-CB8A-4830-8E96-5C407868A0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37711806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1" y="1137919"/>
            <a:ext cx="4038600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1" y="1137919"/>
            <a:ext cx="4038600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E1BDE01-7D08-4922-9259-4581BC33C3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316E71-E840-4F4E-B28F-CAC485A103AB}" type="datetime3">
              <a:rPr lang="en-US" smtClean="0"/>
              <a:t>18 October 2021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29C6724-47E1-45B5-B455-099BFD53BB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8340A57-5875-43E6-BEEA-8CEBCDCA30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47349053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9247" y="1869441"/>
            <a:ext cx="4042800" cy="4256075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7304" y="1869441"/>
            <a:ext cx="4042800" cy="4256075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1" y="1137920"/>
            <a:ext cx="40428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47304" y="1137920"/>
            <a:ext cx="40428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FCA5F9A-0842-4BED-A447-9C3F6915DCD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EE1083-85D7-4236-A873-6598943222E0}" type="datetime3">
              <a:rPr lang="en-US" smtClean="0"/>
              <a:t>18 October 2021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8AD82-A588-4EFB-A956-62AC671AB8A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F77DB56-43F3-4932-8420-FA767EBAB47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3710801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B7547C-9236-44B2-927D-EE1C7DF06D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C390AC-8158-4DFE-B815-6ED339BF8566}" type="datetime3">
              <a:rPr lang="en-US" smtClean="0"/>
              <a:t>18 October 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E2AC0F-F4F4-46F1-8E38-470CA2132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B301A4-CE65-4914-B017-DED28C2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20594495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3A9D79-13D5-4189-B325-32C1E30071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DB3ACE-7354-4C35-A169-B21EF3881CF9}" type="datetime3">
              <a:rPr lang="en-US" smtClean="0"/>
              <a:t>18 October 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690CD3-106E-4E37-A338-7D12BDB87E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97AA2E-8C14-46B6-80A1-837B7775D6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86013907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813CB0-F911-4F63-ADF4-31E748E46E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12D44-8C97-4999-9FBE-51B25C466131}" type="datetime3">
              <a:rPr lang="en-US" smtClean="0"/>
              <a:t>18 October 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E00D68-E42E-4E18-97BC-09F3CC3C71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09C18C-4659-4936-9B48-47D9169929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039674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1F7CA26-2B7B-4622-93A8-93EC10CCBE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41F8C-718F-4FB3-9960-73274E4EA1A5}" type="datetime3">
              <a:rPr lang="en-US" smtClean="0"/>
              <a:t>18 October 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0E24E25-AADE-42B5-BB07-A8C5FC7FBF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9B93A4-EF49-4605-8E7D-22AB1304F1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A3678118-FB9F-46C1-A6F2-3E42EC5536B0}"/>
              </a:ext>
            </a:extLst>
          </p:cNvPr>
          <p:cNvSpPr>
            <a:spLocks/>
          </p:cNvSpPr>
          <p:nvPr userDrawn="1"/>
        </p:nvSpPr>
        <p:spPr bwMode="gray">
          <a:xfrm>
            <a:off x="457200" y="1039815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6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1D46014-541B-4C37-8BD9-33F3A3BE76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682001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58AD78-6C49-405F-80BD-8F5F9CFAD7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027A19-B3E0-45DC-80BC-29D6E35AAB54}" type="datetime3">
              <a:rPr lang="en-US" smtClean="0"/>
              <a:t>18 October 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A3A6C55-F277-42AF-8500-E16F039B9A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368E36-B58F-4FD6-B92E-04754A1D83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39568883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9144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E480A10-F3A8-4482-9A96-E4A2985059D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4C6151A1-477B-4832-95E9-A58F6B82DE73}" type="datetime3">
              <a:rPr lang="en-US" smtClean="0"/>
              <a:t>18 October 2021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D942338-84D5-44C7-ADEC-04C9C56CF23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AC4917-7B6B-475D-AAE6-8F714438F25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17863245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719139"/>
            <a:ext cx="3506400" cy="5210062"/>
          </a:xfrm>
        </p:spPr>
        <p:txBody>
          <a:bodyPr/>
          <a:lstStyle>
            <a:lvl1pPr marL="0" indent="0" algn="l" defTabSz="746124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9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32089" indent="-13208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41609" indent="-14160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4308456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9144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BECDA38-9A54-405F-83FD-C2C8A8B87B30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2008048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B7A8FBF4-FC6F-47BA-9D19-CE38787ECF4B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94A337-C481-46B0-A487-BEEC61FC34F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6212A2-9F1E-4808-9F79-71FEE70E5DB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457201" y="6516456"/>
            <a:ext cx="663066" cy="180000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Стр.</a:t>
            </a:r>
            <a:r>
              <a:rPr lang="en-GB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57747718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54124558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064" y="2504281"/>
            <a:ext cx="3334113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6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9" marR="0" lvl="0" indent="-267319" defTabSz="75551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42413CE-C4D0-4ABD-A496-80941F07BDB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5B1BBE7D-02CE-4D2C-9CEE-9D1DBA997052}" type="datetime3">
              <a:rPr lang="en-US" smtClean="0"/>
              <a:t>18 October 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6AF2A22-94A3-41BF-9F87-44E3FEF33B4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5C79A1-12F2-4F8B-A8F3-F46D58F4CB3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20521252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787414" cy="6857999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20418" y="294200"/>
            <a:ext cx="6665528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020417" y="1137921"/>
            <a:ext cx="2056091" cy="5018184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293076" y="1137921"/>
            <a:ext cx="2101787" cy="5018184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6611431" y="1137922"/>
            <a:ext cx="2075369" cy="2796151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Line 10">
            <a:extLst>
              <a:ext uri="{FF2B5EF4-FFF2-40B4-BE49-F238E27FC236}">
                <a16:creationId xmlns:a16="http://schemas.microsoft.com/office/drawing/2014/main" id="{1FE654FB-261F-44E5-8EF9-237DB835D71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023353" y="907750"/>
            <a:ext cx="669263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3AD698-0E41-4FCF-AB31-51B8D1AE402F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578CBB51-56FF-445B-BB16-DB7565C918CD}" type="datetime3">
              <a:rPr lang="en-US" smtClean="0"/>
              <a:t>18 October 2021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9018413-4A60-4C02-9E4A-E0257623113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74983C1-0EF4-4B2C-97F2-6888EAEE5D8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457201" y="6516456"/>
            <a:ext cx="663066" cy="180000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Стр.</a:t>
            </a:r>
            <a:r>
              <a:rPr lang="en-GB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26473204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9C0DD7D-5B2C-4539-8FE2-07617C2EF1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611703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9C0DD7D-5B2C-4539-8FE2-07617C2EF1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128D225-A95C-4182-BE44-3E9027AF283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 rtl="0"/>
            <a:endParaRPr kumimoji="0" lang="ru-RU" sz="1800" b="0" i="0" u="none" cap="none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945AD81-9D09-493D-94B8-1CAA625F68C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0361" y="5340096"/>
            <a:ext cx="987552" cy="1156968"/>
          </a:xfrm>
          <a:prstGeom prst="rect">
            <a:avLst/>
          </a:prstGeom>
        </p:spPr>
      </p:pic>
      <p:sp>
        <p:nvSpPr>
          <p:cNvPr id="7" name="Freeform 5">
            <a:extLst>
              <a:ext uri="{FF2B5EF4-FFF2-40B4-BE49-F238E27FC236}">
                <a16:creationId xmlns:a16="http://schemas.microsoft.com/office/drawing/2014/main" id="{B7F2A12E-7729-47A0-BC4C-937A569C1503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70054" y="457199"/>
            <a:ext cx="4507059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GB" sz="135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306FE6B-2888-42EC-9409-22E0C44C3E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6327" y="1476597"/>
            <a:ext cx="4064949" cy="860400"/>
          </a:xfrm>
        </p:spPr>
        <p:txBody>
          <a:bodyPr/>
          <a:lstStyle>
            <a:lvl1pPr>
              <a:defRPr sz="1800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GB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2FC3DF6-2861-4293-9E33-F3E405EF9F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6326" y="3337834"/>
            <a:ext cx="4064949" cy="39122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9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200" b="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200">
                <a:solidFill>
                  <a:srgbClr val="404040"/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ru-RU" dirty="0">
                <a:solidFill>
                  <a:schemeClr val="bg1"/>
                </a:solidFill>
              </a:rPr>
              <a:t>Август, 2020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73009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2">
          <p15:clr>
            <a:srgbClr val="FBAE40"/>
          </p15:clr>
        </p15:guide>
      </p15:sldGuideLst>
    </p:ext>
  </p:extLs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/>
        </p:nvCxnSpPr>
        <p:spPr>
          <a:xfrm>
            <a:off x="999369" y="5709060"/>
            <a:ext cx="6088405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/>
        </p:nvSpPr>
        <p:spPr>
          <a:xfrm>
            <a:off x="346309" y="5605203"/>
            <a:ext cx="783397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675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9369" y="6019189"/>
            <a:ext cx="2315750" cy="180000"/>
          </a:xfrm>
        </p:spPr>
        <p:txBody>
          <a:bodyPr/>
          <a:lstStyle>
            <a:lvl1pPr marL="0" indent="0">
              <a:buNone/>
              <a:defRPr sz="67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99369" y="6216807"/>
            <a:ext cx="2315750" cy="180000"/>
          </a:xfrm>
        </p:spPr>
        <p:txBody>
          <a:bodyPr/>
          <a:lstStyle>
            <a:lvl1pPr marL="0" indent="0">
              <a:buNone/>
              <a:defRPr sz="67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0F898568-1B78-454B-9FE7-9E37EEF85A89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70054" y="457199"/>
            <a:ext cx="4507059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GB" sz="135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C105A121-2DA3-4610-BC32-EBB7F8ABAFD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6326" y="1476597"/>
            <a:ext cx="3813414" cy="860400"/>
          </a:xfrm>
        </p:spPr>
        <p:txBody>
          <a:bodyPr/>
          <a:lstStyle>
            <a:lvl1pPr>
              <a:defRPr sz="2250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 dirty="0"/>
              <a:t>Title (EY Interstate </a:t>
            </a:r>
            <a:r>
              <a:rPr lang="en-GB"/>
              <a:t>Light 30 </a:t>
            </a:r>
            <a:r>
              <a:rPr lang="en-GB" dirty="0"/>
              <a:t>point)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61BB2EE4-E5D4-4DD9-97C5-CF16A0A2327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6327" y="2422864"/>
            <a:ext cx="3813414" cy="645742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9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20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200">
                <a:solidFill>
                  <a:srgbClr val="404040"/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200" dirty="0"/>
              <a:t>Subtitle (EY Interstate 16 point)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9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b="1" dirty="0"/>
              <a:t>XX Month 200X (EY Interstate bold 16 point)</a:t>
            </a:r>
            <a:endParaRPr lang="en-GB" sz="1200" dirty="0"/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403A0AAB-2D99-480E-8BCB-0300B2E4CA7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89" y="5340350"/>
            <a:ext cx="987425" cy="1157288"/>
            <a:chOff x="4857" y="3364"/>
            <a:chExt cx="622" cy="729"/>
          </a:xfrm>
        </p:grpSpPr>
        <p:sp>
          <p:nvSpPr>
            <p:cNvPr id="6" name="AutoShape 3">
              <a:extLst>
                <a:ext uri="{FF2B5EF4-FFF2-40B4-BE49-F238E27FC236}">
                  <a16:creationId xmlns:a16="http://schemas.microsoft.com/office/drawing/2014/main" id="{136D971F-E278-4FE8-BAE4-2AD4D04270F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50"/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1954568E-D3F2-4EA1-8901-CBA2FF03DD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50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E19C9D94-B5B9-4323-A444-83000773662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50" dirty="0">
                <a:solidFill>
                  <a:schemeClr val="tx1"/>
                </a:solidFill>
              </a:endParaRPr>
            </a:p>
          </p:txBody>
        </p:sp>
      </p:grp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14F1DE27-AD0C-4A9A-9D8D-4F823ECEAD7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6306" y="5914642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506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127127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2">
          <p15:clr>
            <a:srgbClr val="FBAE40"/>
          </p15:clr>
        </p15:guide>
      </p15:sldGuideLst>
    </p:ext>
  </p:extLs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/>
        </p:nvCxnSpPr>
        <p:spPr>
          <a:xfrm>
            <a:off x="999369" y="5709060"/>
            <a:ext cx="6088405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/>
        </p:nvSpPr>
        <p:spPr>
          <a:xfrm>
            <a:off x="346309" y="5605203"/>
            <a:ext cx="783397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675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6309" y="6019189"/>
            <a:ext cx="2315750" cy="180000"/>
          </a:xfrm>
        </p:spPr>
        <p:txBody>
          <a:bodyPr/>
          <a:lstStyle>
            <a:lvl1pPr marL="0" indent="0">
              <a:buNone/>
              <a:defRPr sz="67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6309" y="6216807"/>
            <a:ext cx="2315750" cy="180000"/>
          </a:xfrm>
        </p:spPr>
        <p:txBody>
          <a:bodyPr/>
          <a:lstStyle>
            <a:lvl1pPr marL="0" indent="0">
              <a:buNone/>
              <a:defRPr sz="67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8" name="Freeform 5">
            <a:extLst>
              <a:ext uri="{FF2B5EF4-FFF2-40B4-BE49-F238E27FC236}">
                <a16:creationId xmlns:a16="http://schemas.microsoft.com/office/drawing/2014/main" id="{160A7550-5D67-4923-A7BC-21E832215440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70054" y="457199"/>
            <a:ext cx="4507059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GB" sz="135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D57A982A-5252-472B-BD55-97D51532138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6326" y="1476597"/>
            <a:ext cx="3813414" cy="860400"/>
          </a:xfrm>
        </p:spPr>
        <p:txBody>
          <a:bodyPr/>
          <a:lstStyle>
            <a:lvl1pPr>
              <a:defRPr sz="2250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 dirty="0"/>
              <a:t>Title (EY Interstate </a:t>
            </a:r>
            <a:r>
              <a:rPr lang="en-GB"/>
              <a:t>Light 30 </a:t>
            </a:r>
            <a:r>
              <a:rPr lang="en-GB" dirty="0"/>
              <a:t>point)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F809C9F7-7674-4F00-8A7B-4EBDB5F94FB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6327" y="2422864"/>
            <a:ext cx="3813414" cy="645742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9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20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200">
                <a:solidFill>
                  <a:srgbClr val="404040"/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200" dirty="0"/>
              <a:t>Subtitle (EY Interstate 16 point)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9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b="1" dirty="0"/>
              <a:t>XX Month 200X (EY Interstate bold 16 point)</a:t>
            </a:r>
            <a:endParaRPr lang="en-GB" sz="1200" dirty="0"/>
          </a:p>
        </p:txBody>
      </p:sp>
      <p:grpSp>
        <p:nvGrpSpPr>
          <p:cNvPr id="22" name="Group 4">
            <a:extLst>
              <a:ext uri="{FF2B5EF4-FFF2-40B4-BE49-F238E27FC236}">
                <a16:creationId xmlns:a16="http://schemas.microsoft.com/office/drawing/2014/main" id="{2FBA4DFB-2D74-4887-91FA-9FE36EADD25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89" y="5340350"/>
            <a:ext cx="987425" cy="1157288"/>
            <a:chOff x="4857" y="3364"/>
            <a:chExt cx="622" cy="729"/>
          </a:xfrm>
        </p:grpSpPr>
        <p:sp>
          <p:nvSpPr>
            <p:cNvPr id="23" name="AutoShape 3">
              <a:extLst>
                <a:ext uri="{FF2B5EF4-FFF2-40B4-BE49-F238E27FC236}">
                  <a16:creationId xmlns:a16="http://schemas.microsoft.com/office/drawing/2014/main" id="{B223B0E3-13DC-4092-840F-C19C33D0170D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50"/>
            </a:p>
          </p:txBody>
        </p:sp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720F86E7-783D-48A5-9A99-BBE51AD8BB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50"/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8EA618E4-F6E6-47C9-85C3-E1EF97EB6DF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50"/>
            </a:p>
          </p:txBody>
        </p:sp>
      </p:grpSp>
    </p:spTree>
    <p:extLst>
      <p:ext uri="{BB962C8B-B14F-4D97-AF65-F5344CB8AC3E}">
        <p14:creationId xmlns:p14="http://schemas.microsoft.com/office/powerpoint/2010/main" val="7593126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2">
          <p15:clr>
            <a:srgbClr val="FBAE40"/>
          </p15:clr>
        </p15:guide>
      </p15:sldGuideLst>
    </p:ext>
  </p:extLs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5">
            <a:extLst>
              <a:ext uri="{FF2B5EF4-FFF2-40B4-BE49-F238E27FC236}">
                <a16:creationId xmlns:a16="http://schemas.microsoft.com/office/drawing/2014/main" id="{770C05D4-D8C4-4691-89DC-120E06C0A0E8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70054" y="457199"/>
            <a:ext cx="4507059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GB" sz="1350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750119" y="1677507"/>
            <a:ext cx="3957735" cy="860400"/>
          </a:xfrm>
        </p:spPr>
        <p:txBody>
          <a:bodyPr/>
          <a:lstStyle>
            <a:lvl1pPr>
              <a:defRPr sz="2250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 dirty="0"/>
              <a:t>Title (EY Interstate </a:t>
            </a:r>
            <a:r>
              <a:rPr lang="en-GB"/>
              <a:t>Light 30 </a:t>
            </a:r>
            <a:r>
              <a:rPr lang="en-GB" dirty="0"/>
              <a:t>point)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50119" y="2685128"/>
            <a:ext cx="3957735" cy="645742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9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20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200">
                <a:solidFill>
                  <a:srgbClr val="404040"/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200" dirty="0"/>
              <a:t>Subtitle (EY Interstate 16 point)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GB" dirty="0">
                <a:latin typeface="EYInterstate" panose="02000503020000020004" pitchFamily="2" charset="0"/>
              </a:rPr>
              <a:t>XX Month 200X (EY Interstate bold 16 point)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77AB755-0634-43A3-B427-C896D8448ABA}"/>
              </a:ext>
            </a:extLst>
          </p:cNvPr>
          <p:cNvCxnSpPr>
            <a:cxnSpLocks/>
          </p:cNvCxnSpPr>
          <p:nvPr userDrawn="1"/>
        </p:nvCxnSpPr>
        <p:spPr>
          <a:xfrm>
            <a:off x="1333184" y="5691442"/>
            <a:ext cx="5669280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5246095A-D7CE-45C6-8BF9-B5543F78C034}"/>
              </a:ext>
            </a:extLst>
          </p:cNvPr>
          <p:cNvSpPr txBox="1"/>
          <p:nvPr userDrawn="1"/>
        </p:nvSpPr>
        <p:spPr>
          <a:xfrm>
            <a:off x="461985" y="5587584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9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9D785C9C-C30C-4D97-AE69-8F7DD8E35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185" y="6001571"/>
            <a:ext cx="3089275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  <a:latin typeface="EYInterstate Light" panose="02000506000000020004" pitchFamily="2" charset="0"/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E9ED2CF-644F-4B9E-820F-6BF4B84D684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185" y="6199189"/>
            <a:ext cx="3089275" cy="180000"/>
          </a:xfrm>
        </p:spPr>
        <p:txBody>
          <a:bodyPr/>
          <a:lstStyle>
            <a:lvl1pPr marL="0" indent="0">
              <a:buNone/>
              <a:defRPr sz="900">
                <a:solidFill>
                  <a:srgbClr val="FFD200"/>
                </a:solidFill>
                <a:latin typeface="EYInterstate Light" panose="02000506000000020004" pitchFamily="2" charset="0"/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9" name="Picture Placeholder 19">
            <a:extLst>
              <a:ext uri="{FF2B5EF4-FFF2-40B4-BE49-F238E27FC236}">
                <a16:creationId xmlns:a16="http://schemas.microsoft.com/office/drawing/2014/main" id="{220D652C-43A8-4888-A086-F26EAFCF8D7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983" y="5897024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5">
                <a:solidFill>
                  <a:schemeClr val="bg1"/>
                </a:solidFill>
                <a:latin typeface="EYInterstate Light" panose="02000506000000020004" pitchFamily="2" charset="0"/>
              </a:defRPr>
            </a:lvl1pPr>
          </a:lstStyle>
          <a:p>
            <a:endParaRPr lang="en-GB" dirty="0"/>
          </a:p>
        </p:txBody>
      </p:sp>
      <p:grpSp>
        <p:nvGrpSpPr>
          <p:cNvPr id="20" name="Group 4">
            <a:extLst>
              <a:ext uri="{FF2B5EF4-FFF2-40B4-BE49-F238E27FC236}">
                <a16:creationId xmlns:a16="http://schemas.microsoft.com/office/drawing/2014/main" id="{2FBA4DFB-2D74-4887-91FA-9FE36EADD25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89" y="5340350"/>
            <a:ext cx="987425" cy="1157288"/>
            <a:chOff x="4857" y="3364"/>
            <a:chExt cx="622" cy="729"/>
          </a:xfrm>
        </p:grpSpPr>
        <p:sp>
          <p:nvSpPr>
            <p:cNvPr id="21" name="AutoShape 3">
              <a:extLst>
                <a:ext uri="{FF2B5EF4-FFF2-40B4-BE49-F238E27FC236}">
                  <a16:creationId xmlns:a16="http://schemas.microsoft.com/office/drawing/2014/main" id="{B223B0E3-13DC-4092-840F-C19C33D0170D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50"/>
            </a:p>
          </p:txBody>
        </p:sp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720F86E7-783D-48A5-9A99-BBE51AD8BB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50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8EA618E4-F6E6-47C9-85C3-E1EF97EB6DF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50"/>
            </a:p>
          </p:txBody>
        </p:sp>
      </p:grpSp>
    </p:spTree>
    <p:extLst>
      <p:ext uri="{BB962C8B-B14F-4D97-AF65-F5344CB8AC3E}">
        <p14:creationId xmlns:p14="http://schemas.microsoft.com/office/powerpoint/2010/main" val="361162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160">
          <p15:clr>
            <a:srgbClr val="FBAE40"/>
          </p15:clr>
        </p15:guide>
      </p15:sldGuideLst>
    </p:ext>
  </p:extLs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Picture 118">
            <a:extLst>
              <a:ext uri="{FF2B5EF4-FFF2-40B4-BE49-F238E27FC236}">
                <a16:creationId xmlns:a16="http://schemas.microsoft.com/office/drawing/2014/main" id="{EAA736A0-D2E9-4CA1-BF9F-5E33CF39B8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1" y="457200"/>
            <a:ext cx="4654295" cy="3930900"/>
          </a:xfrm>
          <a:prstGeom prst="rect">
            <a:avLst/>
          </a:prstGeom>
        </p:spPr>
      </p:pic>
      <p:grpSp>
        <p:nvGrpSpPr>
          <p:cNvPr id="79" name="Group 4">
            <a:extLst>
              <a:ext uri="{FF2B5EF4-FFF2-40B4-BE49-F238E27FC236}">
                <a16:creationId xmlns:a16="http://schemas.microsoft.com/office/drawing/2014/main" id="{A159D8C9-C19B-4DF7-9C5A-22EDB8A5FB9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89" y="5340350"/>
            <a:ext cx="987425" cy="1157288"/>
            <a:chOff x="4857" y="3364"/>
            <a:chExt cx="622" cy="729"/>
          </a:xfrm>
        </p:grpSpPr>
        <p:sp>
          <p:nvSpPr>
            <p:cNvPr id="80" name="AutoShape 3">
              <a:extLst>
                <a:ext uri="{FF2B5EF4-FFF2-40B4-BE49-F238E27FC236}">
                  <a16:creationId xmlns:a16="http://schemas.microsoft.com/office/drawing/2014/main" id="{D95FB310-FD8D-4315-8C3A-8966DC1515AB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50"/>
            </a:p>
          </p:txBody>
        </p:sp>
        <p:sp>
          <p:nvSpPr>
            <p:cNvPr id="81" name="Freeform 5">
              <a:extLst>
                <a:ext uri="{FF2B5EF4-FFF2-40B4-BE49-F238E27FC236}">
                  <a16:creationId xmlns:a16="http://schemas.microsoft.com/office/drawing/2014/main" id="{B0F72F2B-2B88-4D56-A5C3-5C83787BA0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50"/>
            </a:p>
          </p:txBody>
        </p:sp>
        <p:sp>
          <p:nvSpPr>
            <p:cNvPr id="82" name="Freeform 6">
              <a:extLst>
                <a:ext uri="{FF2B5EF4-FFF2-40B4-BE49-F238E27FC236}">
                  <a16:creationId xmlns:a16="http://schemas.microsoft.com/office/drawing/2014/main" id="{900DB62A-8F2A-4742-9C40-2FC7AA18235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50"/>
            </a:p>
          </p:txBody>
        </p:sp>
      </p:grpSp>
      <p:pic>
        <p:nvPicPr>
          <p:cNvPr id="83" name="Picture 82">
            <a:extLst>
              <a:ext uri="{FF2B5EF4-FFF2-40B4-BE49-F238E27FC236}">
                <a16:creationId xmlns:a16="http://schemas.microsoft.com/office/drawing/2014/main" id="{23B9FB7E-B586-4378-AE43-0A9B9CA0B98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5914517"/>
            <a:ext cx="3780000" cy="618750"/>
          </a:xfrm>
          <a:prstGeom prst="rect">
            <a:avLst/>
          </a:prstGeom>
        </p:spPr>
      </p:pic>
      <p:sp>
        <p:nvSpPr>
          <p:cNvPr id="124" name="Subtitle 2">
            <a:extLst>
              <a:ext uri="{FF2B5EF4-FFF2-40B4-BE49-F238E27FC236}">
                <a16:creationId xmlns:a16="http://schemas.microsoft.com/office/drawing/2014/main" id="{DE813F69-7E98-49B9-A563-B5D224235BE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8192" y="2825612"/>
            <a:ext cx="3612689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200">
                <a:solidFill>
                  <a:srgbClr val="FFFFFF"/>
                </a:solidFill>
              </a:defRPr>
            </a:lvl2pPr>
            <a:lvl3pPr marL="0" indent="0" algn="l">
              <a:buNone/>
              <a:defRPr sz="1200">
                <a:solidFill>
                  <a:srgbClr val="FFFFFF"/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25" name="Title 1">
            <a:extLst>
              <a:ext uri="{FF2B5EF4-FFF2-40B4-BE49-F238E27FC236}">
                <a16:creationId xmlns:a16="http://schemas.microsoft.com/office/drawing/2014/main" id="{6135F81D-3120-4669-8305-5AB7CAA0504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88192" y="1855166"/>
            <a:ext cx="3612689" cy="860400"/>
          </a:xfrm>
          <a:prstGeom prst="rect">
            <a:avLst/>
          </a:prstGeom>
        </p:spPr>
        <p:txBody>
          <a:bodyPr/>
          <a:lstStyle>
            <a:lvl1pPr>
              <a:defRPr sz="225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40551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5" name="Group 4">
            <a:extLst>
              <a:ext uri="{FF2B5EF4-FFF2-40B4-BE49-F238E27FC236}">
                <a16:creationId xmlns:a16="http://schemas.microsoft.com/office/drawing/2014/main" id="{916D9572-5294-4C0A-83C4-99E45F89495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89" y="5340350"/>
            <a:ext cx="987425" cy="1157288"/>
            <a:chOff x="4857" y="3364"/>
            <a:chExt cx="622" cy="729"/>
          </a:xfrm>
        </p:grpSpPr>
        <p:sp>
          <p:nvSpPr>
            <p:cNvPr id="86" name="AutoShape 3">
              <a:extLst>
                <a:ext uri="{FF2B5EF4-FFF2-40B4-BE49-F238E27FC236}">
                  <a16:creationId xmlns:a16="http://schemas.microsoft.com/office/drawing/2014/main" id="{5667BEF9-3DFA-4239-A852-71BA27EC8E18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50"/>
            </a:p>
          </p:txBody>
        </p:sp>
        <p:sp>
          <p:nvSpPr>
            <p:cNvPr id="87" name="Freeform 5">
              <a:extLst>
                <a:ext uri="{FF2B5EF4-FFF2-40B4-BE49-F238E27FC236}">
                  <a16:creationId xmlns:a16="http://schemas.microsoft.com/office/drawing/2014/main" id="{7E85CBCB-BA9A-4374-A431-F4DC5F8079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50"/>
            </a:p>
          </p:txBody>
        </p:sp>
        <p:sp>
          <p:nvSpPr>
            <p:cNvPr id="88" name="Freeform 6">
              <a:extLst>
                <a:ext uri="{FF2B5EF4-FFF2-40B4-BE49-F238E27FC236}">
                  <a16:creationId xmlns:a16="http://schemas.microsoft.com/office/drawing/2014/main" id="{5C0EF3BA-6104-4E1B-9F18-E642314A9A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50"/>
            </a:p>
          </p:txBody>
        </p:sp>
      </p:grpSp>
      <p:pic>
        <p:nvPicPr>
          <p:cNvPr id="89" name="Picture 88">
            <a:extLst>
              <a:ext uri="{FF2B5EF4-FFF2-40B4-BE49-F238E27FC236}">
                <a16:creationId xmlns:a16="http://schemas.microsoft.com/office/drawing/2014/main" id="{BEA87971-BB0B-4ED2-8AC3-71D5B1159A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1" y="777242"/>
            <a:ext cx="6753225" cy="3400425"/>
          </a:xfrm>
          <a:prstGeom prst="rect">
            <a:avLst/>
          </a:prstGeom>
        </p:spPr>
      </p:pic>
      <p:sp>
        <p:nvSpPr>
          <p:cNvPr id="90" name="Subtitle 2">
            <a:extLst>
              <a:ext uri="{FF2B5EF4-FFF2-40B4-BE49-F238E27FC236}">
                <a16:creationId xmlns:a16="http://schemas.microsoft.com/office/drawing/2014/main" id="{D57E11BD-E2D9-41B1-9EF5-FF1EA0B8EB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8191" y="3258529"/>
            <a:ext cx="5943432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200">
                <a:solidFill>
                  <a:srgbClr val="FFFFFF"/>
                </a:solidFill>
              </a:defRPr>
            </a:lvl2pPr>
            <a:lvl3pPr marL="0" indent="0" algn="l">
              <a:buNone/>
              <a:defRPr sz="1200">
                <a:solidFill>
                  <a:srgbClr val="FFFFFF"/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91" name="Title 1">
            <a:extLst>
              <a:ext uri="{FF2B5EF4-FFF2-40B4-BE49-F238E27FC236}">
                <a16:creationId xmlns:a16="http://schemas.microsoft.com/office/drawing/2014/main" id="{9E850DE9-7D5E-499B-8FA1-4143F639E0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88191" y="2288083"/>
            <a:ext cx="5943432" cy="860400"/>
          </a:xfrm>
          <a:prstGeom prst="rect">
            <a:avLst/>
          </a:prstGeom>
        </p:spPr>
        <p:txBody>
          <a:bodyPr/>
          <a:lstStyle>
            <a:lvl1pPr>
              <a:defRPr sz="225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92" name="Picture 91">
            <a:extLst>
              <a:ext uri="{FF2B5EF4-FFF2-40B4-BE49-F238E27FC236}">
                <a16:creationId xmlns:a16="http://schemas.microsoft.com/office/drawing/2014/main" id="{620AFF6A-D70F-482C-ACA4-D71330481F1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5914517"/>
            <a:ext cx="3780000" cy="61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8008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1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12" noProof="0" dirty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1137920"/>
            <a:ext cx="82296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8197805-0689-4503-8125-F783F931714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25076755-5687-4D7F-83D1-5A2141D8256F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180DED-A206-48B8-8395-C38D75067D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21561" y="6516456"/>
            <a:ext cx="3695465" cy="1800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584CBDA-5400-4C9D-A814-1CE6E3FD4F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5731857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8ABFE52-8B9C-459B-B350-E3ADCFE74B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719139"/>
            <a:ext cx="3506400" cy="5210062"/>
          </a:xfrm>
        </p:spPr>
        <p:txBody>
          <a:bodyPr/>
          <a:lstStyle>
            <a:lvl1pPr marL="0" indent="0" algn="l" defTabSz="746124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9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32089" indent="-13208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41609" indent="-14160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20789472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1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12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A80CEA2-D107-4E43-B632-8CAB22A8CAC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4D67AF60-DF2C-4DD5-A075-8C89863EB287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3FCC4BD-E0C7-4008-8760-F505B7C870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>
                <a:solidFill>
                  <a:srgbClr val="2E2E38"/>
                </a:solidFill>
              </a:rPr>
              <a:t>Анализ вклада отрасли добычи и переработки золота в экономику и социальное развитие Республики Казахстан</a:t>
            </a:r>
            <a:endParaRPr lang="ru-RU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3ED2ADF-C3C7-4D61-8B10-4ED75087C3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31648200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_no_top_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A80CEA2-D107-4E43-B632-8CAB22A8CAC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4D67AF60-DF2C-4DD5-A075-8C89863EB287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3FCC4BD-E0C7-4008-8760-F505B7C870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>
                <a:solidFill>
                  <a:srgbClr val="2E2E38"/>
                </a:solidFill>
              </a:rPr>
              <a:t>Анализ вклада отрасли добычи и переработки золота в экономику и социальное развитие Республики Казахстан</a:t>
            </a:r>
            <a:endParaRPr lang="ru-RU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3ED2ADF-C3C7-4D61-8B10-4ED75087C3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67587843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46139" y="1"/>
            <a:ext cx="2997862" cy="615610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5580410" cy="59040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1" y="1137921"/>
            <a:ext cx="5471882" cy="873760"/>
          </a:xfrm>
        </p:spPr>
        <p:txBody>
          <a:bodyPr/>
          <a:lstStyle>
            <a:lvl1pPr marL="0" indent="0">
              <a:buNone/>
              <a:defRPr sz="1012">
                <a:solidFill>
                  <a:schemeClr val="bg1"/>
                </a:solidFill>
              </a:defRPr>
            </a:lvl1pPr>
            <a:lvl2pPr marL="200489" indent="0">
              <a:buNone/>
              <a:defRPr sz="1012">
                <a:solidFill>
                  <a:schemeClr val="bg1"/>
                </a:solidFill>
              </a:defRPr>
            </a:lvl2pPr>
            <a:lvl3pPr marL="400979" indent="0">
              <a:buNone/>
              <a:defRPr sz="899">
                <a:solidFill>
                  <a:schemeClr val="bg1"/>
                </a:solidFill>
              </a:defRPr>
            </a:lvl3pPr>
            <a:lvl4pPr marL="601469" indent="0">
              <a:buNone/>
              <a:defRPr sz="787">
                <a:solidFill>
                  <a:schemeClr val="bg1"/>
                </a:solidFill>
              </a:defRPr>
            </a:lvl4pPr>
            <a:lvl5pPr marL="801958" indent="0">
              <a:buNone/>
              <a:defRPr sz="675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57202" y="2311401"/>
            <a:ext cx="2683690" cy="3844704"/>
          </a:xfrm>
        </p:spPr>
        <p:txBody>
          <a:bodyPr numCol="1"/>
          <a:lstStyle>
            <a:lvl1pPr marL="0" indent="0">
              <a:buNone/>
              <a:defRPr sz="787">
                <a:solidFill>
                  <a:schemeClr val="bg1"/>
                </a:solidFill>
              </a:defRPr>
            </a:lvl1pPr>
            <a:lvl2pPr marL="200489" indent="0">
              <a:buNone/>
              <a:defRPr sz="1012">
                <a:solidFill>
                  <a:schemeClr val="bg1"/>
                </a:solidFill>
              </a:defRPr>
            </a:lvl2pPr>
            <a:lvl3pPr marL="400979" indent="0">
              <a:buNone/>
              <a:defRPr sz="899">
                <a:solidFill>
                  <a:schemeClr val="bg1"/>
                </a:solidFill>
              </a:defRPr>
            </a:lvl3pPr>
            <a:lvl4pPr marL="601469" indent="0">
              <a:buNone/>
              <a:defRPr sz="787">
                <a:solidFill>
                  <a:schemeClr val="bg1"/>
                </a:solidFill>
              </a:defRPr>
            </a:lvl4pPr>
            <a:lvl5pPr marL="801958" indent="0">
              <a:buNone/>
              <a:defRPr sz="675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3245393" y="2311404"/>
            <a:ext cx="2683690" cy="1254759"/>
          </a:xfrm>
        </p:spPr>
        <p:txBody>
          <a:bodyPr numCol="1"/>
          <a:lstStyle>
            <a:lvl1pPr marL="0" indent="0">
              <a:buNone/>
              <a:defRPr sz="787">
                <a:solidFill>
                  <a:schemeClr val="bg1"/>
                </a:solidFill>
              </a:defRPr>
            </a:lvl1pPr>
            <a:lvl2pPr marL="200489" indent="0">
              <a:buNone/>
              <a:defRPr sz="1012">
                <a:solidFill>
                  <a:schemeClr val="bg1"/>
                </a:solidFill>
              </a:defRPr>
            </a:lvl2pPr>
            <a:lvl3pPr marL="400979" indent="0">
              <a:buNone/>
              <a:defRPr sz="899">
                <a:solidFill>
                  <a:schemeClr val="bg1"/>
                </a:solidFill>
              </a:defRPr>
            </a:lvl3pPr>
            <a:lvl4pPr marL="601469" indent="0">
              <a:buNone/>
              <a:defRPr sz="787">
                <a:solidFill>
                  <a:schemeClr val="bg1"/>
                </a:solidFill>
              </a:defRPr>
            </a:lvl4pPr>
            <a:lvl5pPr marL="801958" indent="0">
              <a:buNone/>
              <a:defRPr sz="675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245393" y="4236721"/>
            <a:ext cx="2683690" cy="1944160"/>
          </a:xfrm>
        </p:spPr>
        <p:txBody>
          <a:bodyPr numCol="1"/>
          <a:lstStyle>
            <a:lvl1pPr marL="0" indent="0">
              <a:buNone/>
              <a:defRPr sz="1012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200489" indent="0">
              <a:buNone/>
              <a:defRPr sz="1012">
                <a:solidFill>
                  <a:schemeClr val="bg1"/>
                </a:solidFill>
              </a:defRPr>
            </a:lvl2pPr>
            <a:lvl3pPr marL="400979" indent="0">
              <a:buNone/>
              <a:defRPr sz="899">
                <a:solidFill>
                  <a:schemeClr val="bg1"/>
                </a:solidFill>
              </a:defRPr>
            </a:lvl3pPr>
            <a:lvl4pPr marL="601469" indent="0">
              <a:buNone/>
              <a:defRPr sz="787">
                <a:solidFill>
                  <a:schemeClr val="bg1"/>
                </a:solidFill>
              </a:defRPr>
            </a:lvl4pPr>
            <a:lvl5pPr marL="801958" indent="0">
              <a:buNone/>
              <a:defRPr sz="675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1" y="907750"/>
            <a:ext cx="5789875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12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031161-0EF0-4994-BAAC-817AFCD5564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21F5ABFD-4D88-46E2-86D0-8E726758F477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4A1A6EA-628B-40CB-AD7E-45CB0B91C2D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099134-47E0-4E77-855E-45C10B9B8B1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36724505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"/>
            <a:ext cx="1787414" cy="685799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20419" y="294200"/>
            <a:ext cx="6665528" cy="59040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020418" y="1137921"/>
            <a:ext cx="2056091" cy="5018184"/>
          </a:xfrm>
        </p:spPr>
        <p:txBody>
          <a:bodyPr/>
          <a:lstStyle>
            <a:lvl1pPr marL="0" indent="0">
              <a:buNone/>
              <a:defRPr sz="1012">
                <a:solidFill>
                  <a:schemeClr val="bg1"/>
                </a:solidFill>
              </a:defRPr>
            </a:lvl1pPr>
            <a:lvl2pPr marL="200489" indent="0">
              <a:buNone/>
              <a:defRPr sz="1012">
                <a:solidFill>
                  <a:schemeClr val="bg1"/>
                </a:solidFill>
              </a:defRPr>
            </a:lvl2pPr>
            <a:lvl3pPr marL="400979" indent="0">
              <a:buNone/>
              <a:defRPr sz="899">
                <a:solidFill>
                  <a:schemeClr val="bg1"/>
                </a:solidFill>
              </a:defRPr>
            </a:lvl3pPr>
            <a:lvl4pPr marL="601469" indent="0">
              <a:buNone/>
              <a:defRPr sz="787">
                <a:solidFill>
                  <a:schemeClr val="bg1"/>
                </a:solidFill>
              </a:defRPr>
            </a:lvl4pPr>
            <a:lvl5pPr marL="801958" indent="0">
              <a:buNone/>
              <a:defRPr sz="675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293077" y="1137921"/>
            <a:ext cx="2101787" cy="5018184"/>
          </a:xfrm>
        </p:spPr>
        <p:txBody>
          <a:bodyPr numCol="1"/>
          <a:lstStyle>
            <a:lvl1pPr marL="0" indent="0">
              <a:buNone/>
              <a:defRPr sz="787">
                <a:solidFill>
                  <a:schemeClr val="bg1"/>
                </a:solidFill>
              </a:defRPr>
            </a:lvl1pPr>
            <a:lvl2pPr marL="200489" indent="0">
              <a:buNone/>
              <a:defRPr sz="1012">
                <a:solidFill>
                  <a:schemeClr val="bg1"/>
                </a:solidFill>
              </a:defRPr>
            </a:lvl2pPr>
            <a:lvl3pPr marL="400979" indent="0">
              <a:buNone/>
              <a:defRPr sz="899">
                <a:solidFill>
                  <a:schemeClr val="bg1"/>
                </a:solidFill>
              </a:defRPr>
            </a:lvl3pPr>
            <a:lvl4pPr marL="601469" indent="0">
              <a:buNone/>
              <a:defRPr sz="787">
                <a:solidFill>
                  <a:schemeClr val="bg1"/>
                </a:solidFill>
              </a:defRPr>
            </a:lvl4pPr>
            <a:lvl5pPr marL="801958" indent="0">
              <a:buNone/>
              <a:defRPr sz="675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611432" y="1137924"/>
            <a:ext cx="2075369" cy="2796151"/>
          </a:xfrm>
        </p:spPr>
        <p:txBody>
          <a:bodyPr numCol="1"/>
          <a:lstStyle>
            <a:lvl1pPr marL="0" indent="0">
              <a:buNone/>
              <a:defRPr sz="787">
                <a:solidFill>
                  <a:schemeClr val="bg1"/>
                </a:solidFill>
              </a:defRPr>
            </a:lvl1pPr>
            <a:lvl2pPr marL="200489" indent="0">
              <a:buNone/>
              <a:defRPr sz="1012">
                <a:solidFill>
                  <a:schemeClr val="bg1"/>
                </a:solidFill>
              </a:defRPr>
            </a:lvl2pPr>
            <a:lvl3pPr marL="400979" indent="0">
              <a:buNone/>
              <a:defRPr sz="899">
                <a:solidFill>
                  <a:schemeClr val="bg1"/>
                </a:solidFill>
              </a:defRPr>
            </a:lvl3pPr>
            <a:lvl4pPr marL="601469" indent="0">
              <a:buNone/>
              <a:defRPr sz="787">
                <a:solidFill>
                  <a:schemeClr val="bg1"/>
                </a:solidFill>
              </a:defRPr>
            </a:lvl4pPr>
            <a:lvl5pPr marL="801958" indent="0">
              <a:buNone/>
              <a:defRPr sz="675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/>
        </p:nvSpPr>
        <p:spPr bwMode="auto">
          <a:xfrm>
            <a:off x="2020419" y="907750"/>
            <a:ext cx="6665528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12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E1076-97C0-41B2-AAE5-AD919BB2DC2E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82140DD7-24EE-4585-B854-30DE462353D6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A40DA20-3A42-4B9D-A853-92BEABFB15B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C6E24F-B7C3-43FD-BF17-E37070A300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02651735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2" y="1137920"/>
            <a:ext cx="6175841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5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3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1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12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95E81C-0962-435D-B7CC-E9E7007F1F8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16039ACA-DE51-4EBE-A0D1-6352F2D9BF3A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CDD1B3-89EC-47BA-A26E-D040220115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9ACB01-FCA5-4FE1-B210-29952B46CA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40805415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4464" y="2851522"/>
            <a:ext cx="3334113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024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00489" marR="0" lvl="0" indent="-200489" defTabSz="566634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ACF31FF-92C4-4CFE-89C8-231A1B4903B6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2CFACC45-0700-46B3-A2A5-8EA5A5C07368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B72E31-AECD-4259-BF90-99398FE128B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DE2F2A-9E13-4DC5-89FE-0719F2B171F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06314380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4464" y="2851522"/>
            <a:ext cx="3334113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024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00489" marR="0" lvl="0" indent="-200489" defTabSz="566634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B824A25-AAE3-42CE-906A-12D97307C1F3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4C5782BF-F78E-4C8B-BFDA-73D158B024C4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DD7A84-5352-4432-83C2-4B3F3BD889A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5019A7-134D-49ED-8707-807B58B2E5D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80813009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67955" y="0"/>
            <a:ext cx="4476046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7136" y="2578743"/>
            <a:ext cx="3401698" cy="1055708"/>
          </a:xfrm>
        </p:spPr>
        <p:txBody>
          <a:bodyPr/>
          <a:lstStyle>
            <a:lvl1pPr marL="0" indent="0">
              <a:buNone/>
              <a:defRPr sz="1687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77136" y="3840384"/>
            <a:ext cx="3401698" cy="1055708"/>
          </a:xfrm>
        </p:spPr>
        <p:txBody>
          <a:bodyPr/>
          <a:lstStyle>
            <a:lvl1pPr marL="0" indent="0">
              <a:buNone/>
              <a:defRPr sz="899"/>
            </a:lvl1pPr>
          </a:lstStyle>
          <a:p>
            <a:pPr lvl="0"/>
            <a:r>
              <a:rPr lang="en-IN" dirty="0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DA49F8-A774-4DD1-8745-65E01AB0472C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E6E457F2-A06A-4DF4-8FF2-B132707F3E39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4C0F4CC-50C9-4C20-A16A-91535919DC9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53C557-8F9C-4613-8095-373D3EE8052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8145067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457201" y="1137923"/>
            <a:ext cx="3716193" cy="4267457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41865" y="3813288"/>
            <a:ext cx="2315750" cy="180000"/>
          </a:xfrm>
        </p:spPr>
        <p:txBody>
          <a:bodyPr/>
          <a:lstStyle>
            <a:lvl1pPr marL="0" indent="0">
              <a:buNone/>
              <a:defRPr sz="67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1865" y="4055931"/>
            <a:ext cx="2315750" cy="180000"/>
          </a:xfrm>
        </p:spPr>
        <p:txBody>
          <a:bodyPr/>
          <a:lstStyle>
            <a:lvl1pPr marL="0" indent="0">
              <a:buNone/>
              <a:defRPr sz="67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89867" y="1137923"/>
            <a:ext cx="409693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89867" y="1635009"/>
            <a:ext cx="4096935" cy="1611554"/>
          </a:xfrm>
        </p:spPr>
        <p:txBody>
          <a:bodyPr/>
          <a:lstStyle>
            <a:lvl1pPr marL="0" indent="0">
              <a:buNone/>
              <a:defRPr sz="899"/>
            </a:lvl1pPr>
          </a:lstStyle>
          <a:p>
            <a:pPr lvl="0"/>
            <a:r>
              <a:rPr lang="en-US" dirty="0"/>
              <a:t>Content EY Interstate Light, 12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1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12" noProof="0" dirty="0">
              <a:solidFill>
                <a:schemeClr val="bg1"/>
              </a:solidFill>
            </a:endParaRPr>
          </a:p>
        </p:txBody>
      </p:sp>
      <p:sp>
        <p:nvSpPr>
          <p:cNvPr id="17" name="Picture Placeholder 19">
            <a:extLst>
              <a:ext uri="{FF2B5EF4-FFF2-40B4-BE49-F238E27FC236}">
                <a16:creationId xmlns:a16="http://schemas.microsoft.com/office/drawing/2014/main" id="{70E81591-07D5-438D-AAD4-4B9A889F448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589864" y="3578084"/>
            <a:ext cx="777600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506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B440ECC-CB43-49D3-ABF3-A5F4F308E7E2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C50D79EF-E63D-4EA1-82CF-CAE2A95C901A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4279E38-5A0D-4584-B4BB-113C1A4C50C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3F8B89-1ED7-4BD8-90B0-47F3DF32AD7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42896471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4">
            <a:extLst>
              <a:ext uri="{FF2B5EF4-FFF2-40B4-BE49-F238E27FC236}">
                <a16:creationId xmlns:a16="http://schemas.microsoft.com/office/drawing/2014/main" id="{54B0064F-CA12-4F8F-B694-23C41AD0F16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284464" y="6327650"/>
            <a:ext cx="402336" cy="412867"/>
            <a:chOff x="7110" y="4004"/>
            <a:chExt cx="191" cy="196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F93F004B-02B9-4455-A020-115CFB37BE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50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19F4E2CA-BA89-47F8-8C68-7CACFBAF82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50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32993525-96BF-457D-86C8-A5E217C20B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50"/>
            </a:p>
          </p:txBody>
        </p:sp>
      </p:grpSp>
      <p:sp>
        <p:nvSpPr>
          <p:cNvPr id="6" name="Date Placeholder 2">
            <a:extLst>
              <a:ext uri="{FF2B5EF4-FFF2-40B4-BE49-F238E27FC236}">
                <a16:creationId xmlns:a16="http://schemas.microsoft.com/office/drawing/2014/main" id="{D8973D65-036E-4D65-AAA3-1427C4AA0C9B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20EB5FB-88DA-42E2-9902-BFAB9334E948}" type="datetime3">
              <a:rPr lang="en-US" smtClean="0"/>
              <a:t>18 October 2021</a:t>
            </a:fld>
            <a:endParaRPr lang="en-US" dirty="0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9711A3A-DB5C-4C5F-BF5A-7DBDD6EFF607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3321561" y="6516456"/>
            <a:ext cx="30861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40A4236-AC64-456A-B3F9-BED41065570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363093" y="6516456"/>
            <a:ext cx="663066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7713458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5943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457200" y="1442718"/>
            <a:ext cx="3716193" cy="4267457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47311" y="3990497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47311" y="4233140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589865" y="3882880"/>
            <a:ext cx="583915" cy="585216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5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89866" y="1442718"/>
            <a:ext cx="409693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89866" y="1939806"/>
            <a:ext cx="4096935" cy="1611554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US" dirty="0"/>
              <a:t>Content EY Interstate Light, 16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0865A7-88A1-4179-82B7-13BDA35F141B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2008048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67692902-7823-48BC-8302-A2FD5610F5D0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17C51E9-620F-4C67-9485-FC4B1DECDB1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E53B3B-B504-465C-9948-C1D8C2E69995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457201" y="6516456"/>
            <a:ext cx="663066" cy="180000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Стр.</a:t>
            </a:r>
            <a:r>
              <a:rPr lang="en-GB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71579170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F607F99-5C2B-4FC6-A3DF-23E011C842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4464" y="6327648"/>
            <a:ext cx="402504" cy="411480"/>
          </a:xfrm>
          <a:prstGeom prst="rect">
            <a:avLst/>
          </a:prstGeom>
        </p:spPr>
      </p:pic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8FBE9395-9BF1-4306-9F29-1F8E92C9F8DB}"/>
              </a:ext>
            </a:extLst>
          </p:cNvPr>
          <p:cNvSpPr txBox="1">
            <a:spLocks/>
          </p:cNvSpPr>
          <p:nvPr userDrawn="1"/>
        </p:nvSpPr>
        <p:spPr>
          <a:xfrm>
            <a:off x="3757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8400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87DD12F9-AC78-4784-A2C0-5FB6EC5A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1750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100" dirty="0" smtClean="0">
                <a:latin typeface="Georgia" panose="02040502050405020303" pitchFamily="18" charset="0"/>
              </a:defRPr>
            </a:lvl1pPr>
          </a:lstStyle>
          <a:p>
            <a:pPr marL="267462" lvl="0" indent="-267462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3BB2527F-4DCE-4CB5-A96D-2E432FD5A07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1750" y="4632765"/>
            <a:ext cx="5292000" cy="316838"/>
          </a:xfrm>
        </p:spPr>
        <p:txBody>
          <a:bodyPr lIns="90000" tIns="46800" rIns="90000" bIns="46800"/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2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267462" indent="0">
              <a:buNone/>
              <a:defRPr lang="en-US" sz="1500" smtClean="0">
                <a:latin typeface="+mn-lt"/>
              </a:defRPr>
            </a:lvl2pPr>
            <a:lvl3pPr>
              <a:defRPr lang="en-US" sz="1350" smtClean="0">
                <a:latin typeface="+mn-lt"/>
              </a:defRPr>
            </a:lvl3pPr>
            <a:lvl4pPr>
              <a:defRPr lang="en-US" sz="1200" smtClean="0">
                <a:latin typeface="+mn-lt"/>
              </a:defRPr>
            </a:lvl4pPr>
            <a:lvl5pPr>
              <a:defRPr lang="en-IN" sz="12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Name Surnam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7DFFB3C-E689-440E-8EDB-465853B3460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1750" y="4971442"/>
            <a:ext cx="5292000" cy="316838"/>
          </a:xfrm>
        </p:spPr>
        <p:txBody>
          <a:bodyPr lIns="90000" tIns="46800" rIns="90000" bIns="46800"/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2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267462" indent="0">
              <a:buNone/>
              <a:defRPr lang="en-US" sz="1500" smtClean="0">
                <a:latin typeface="+mn-lt"/>
              </a:defRPr>
            </a:lvl2pPr>
            <a:lvl3pPr>
              <a:defRPr lang="en-US" sz="1350" smtClean="0">
                <a:latin typeface="+mn-lt"/>
              </a:defRPr>
            </a:lvl3pPr>
            <a:lvl4pPr>
              <a:defRPr lang="en-US" sz="1200" smtClean="0">
                <a:latin typeface="+mn-lt"/>
              </a:defRPr>
            </a:lvl4pPr>
            <a:lvl5pPr>
              <a:defRPr lang="en-IN" sz="12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Job Title</a:t>
            </a:r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09667CEE-F273-4416-9D45-A0E825F14911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284464" y="6327650"/>
            <a:ext cx="402336" cy="412867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3F5A26-EE33-4654-ACA2-880B36B275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50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325D6EF1-9951-4386-9E98-24FDBF5827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50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572CC147-C47E-4B17-9D76-D39D3C36CE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50"/>
            </a:p>
          </p:txBody>
        </p:sp>
      </p:grpSp>
    </p:spTree>
    <p:extLst>
      <p:ext uri="{BB962C8B-B14F-4D97-AF65-F5344CB8AC3E}">
        <p14:creationId xmlns:p14="http://schemas.microsoft.com/office/powerpoint/2010/main" val="1624549116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BD7B1EAA-D62E-426F-9D29-F674CEB29C3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26000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100" dirty="0" smtClean="0">
                <a:latin typeface="Georgia" panose="02040502050405020303" pitchFamily="18" charset="0"/>
              </a:defRPr>
            </a:lvl1pPr>
          </a:lstStyle>
          <a:p>
            <a:pPr marL="267462" lvl="0" indent="-267462" algn="ctr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C43D8C34-69FC-4DEE-BC95-D2F629475EB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26000" y="551683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2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267462" lvl="0" indent="-267462" algn="ctr">
              <a:spcBef>
                <a:spcPts val="0"/>
              </a:spcBef>
              <a:spcAft>
                <a:spcPts val="450"/>
              </a:spcAft>
            </a:pPr>
            <a:r>
              <a:rPr lang="en-US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78FCBB-C01D-4FF8-828E-0E27552CA9C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926000" y="582887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2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267462" lvl="0" indent="-267462" algn="ctr">
              <a:spcBef>
                <a:spcPts val="0"/>
              </a:spcBef>
              <a:spcAft>
                <a:spcPts val="450"/>
              </a:spcAft>
            </a:pPr>
            <a:r>
              <a:rPr lang="en-US" dirty="0"/>
              <a:t>Job Titl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0AD41D48-C813-4F78-A2C8-0758D2B7DC18}"/>
              </a:ext>
            </a:extLst>
          </p:cNvPr>
          <p:cNvSpPr txBox="1">
            <a:spLocks/>
          </p:cNvSpPr>
          <p:nvPr userDrawn="1"/>
        </p:nvSpPr>
        <p:spPr>
          <a:xfrm>
            <a:off x="3402807" y="979789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8400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FF60CB08-2DD7-4911-8D80-BCAC7944540B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284464" y="6327650"/>
            <a:ext cx="402336" cy="412867"/>
            <a:chOff x="7110" y="4004"/>
            <a:chExt cx="191" cy="196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C7E6D8E8-E311-4EB7-AFAA-50963EA7B1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50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53EFA7D4-C8AD-4C58-A0EE-C2B700393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50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E459CDB2-C2F0-4E1A-AC90-F93C856AA5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50"/>
            </a:p>
          </p:txBody>
        </p:sp>
      </p:grpSp>
    </p:spTree>
    <p:extLst>
      <p:ext uri="{BB962C8B-B14F-4D97-AF65-F5344CB8AC3E}">
        <p14:creationId xmlns:p14="http://schemas.microsoft.com/office/powerpoint/2010/main" val="1218079811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2" y="1137920"/>
            <a:ext cx="6175841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00489">
              <a:defRPr>
                <a:solidFill>
                  <a:schemeClr val="bg1"/>
                </a:solidFill>
              </a:defRPr>
            </a:lvl2pPr>
            <a:lvl3pPr marL="400979">
              <a:defRPr>
                <a:solidFill>
                  <a:schemeClr val="bg1"/>
                </a:solidFill>
              </a:defRPr>
            </a:lvl3pPr>
            <a:lvl4pPr marL="601469">
              <a:defRPr>
                <a:solidFill>
                  <a:schemeClr val="bg1"/>
                </a:solidFill>
              </a:defRPr>
            </a:lvl4pPr>
            <a:lvl5pPr marL="801958">
              <a:defRPr sz="675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1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12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BF0A34-C36D-461B-A015-21A5DA63B59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B8888596-508F-462B-B8B6-8FA53F52D1AD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ECF0E1-C505-48F8-AD92-7D8685FF48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682A11-B39D-4FE0-A53D-0F1661DE05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30877377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1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12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03DAEA1-6A90-4FC2-97C7-E8CE0391435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D9D13043-761F-484F-A1D9-D4AB681B3B46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B819100-2154-4CEF-A4AE-869A873311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B93803-CB8A-4830-8E96-5C407868A0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29457318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1" y="1137919"/>
            <a:ext cx="4038600" cy="4834800"/>
          </a:xfrm>
        </p:spPr>
        <p:txBody>
          <a:bodyPr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35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012"/>
            </a:lvl6pPr>
            <a:lvl7pPr>
              <a:defRPr sz="1012"/>
            </a:lvl7pPr>
            <a:lvl8pPr>
              <a:defRPr sz="1012"/>
            </a:lvl8pPr>
            <a:lvl9pPr>
              <a:defRPr sz="1012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1" y="1137919"/>
            <a:ext cx="4038600" cy="4834800"/>
          </a:xfrm>
        </p:spPr>
        <p:txBody>
          <a:bodyPr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35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012"/>
            </a:lvl6pPr>
            <a:lvl7pPr>
              <a:defRPr sz="1012"/>
            </a:lvl7pPr>
            <a:lvl8pPr>
              <a:defRPr sz="1012"/>
            </a:lvl8pPr>
            <a:lvl9pPr>
              <a:defRPr sz="1012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1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12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E1BDE01-7D08-4922-9259-4581BC33C3E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A407A766-6744-4FCF-AEA2-FA6B5CA7ADFF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29C6724-47E1-45B5-B455-099BFD53BB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8340A57-5875-43E6-BEEA-8CEBCDCA30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6916429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9247" y="1869443"/>
            <a:ext cx="4042800" cy="4256075"/>
          </a:xfrm>
        </p:spPr>
        <p:txBody>
          <a:bodyPr/>
          <a:lstStyle>
            <a:lvl1pPr>
              <a:defRPr sz="1124">
                <a:solidFill>
                  <a:schemeClr val="bg1"/>
                </a:solidFill>
              </a:defRPr>
            </a:lvl1pPr>
            <a:lvl2pPr>
              <a:defRPr sz="1012">
                <a:solidFill>
                  <a:schemeClr val="bg1"/>
                </a:solidFill>
              </a:defRPr>
            </a:lvl2pPr>
            <a:lvl3pPr>
              <a:defRPr sz="899">
                <a:solidFill>
                  <a:schemeClr val="bg1"/>
                </a:solidFill>
              </a:defRPr>
            </a:lvl3pPr>
            <a:lvl4pPr>
              <a:defRPr sz="787">
                <a:solidFill>
                  <a:schemeClr val="bg1"/>
                </a:solidFill>
              </a:defRPr>
            </a:lvl4pPr>
            <a:lvl5pPr>
              <a:defRPr sz="675">
                <a:solidFill>
                  <a:schemeClr val="bg1"/>
                </a:solidFill>
              </a:defRPr>
            </a:lvl5pPr>
            <a:lvl6pPr>
              <a:defRPr sz="1012"/>
            </a:lvl6pPr>
            <a:lvl7pPr>
              <a:defRPr sz="1012"/>
            </a:lvl7pPr>
            <a:lvl8pPr>
              <a:defRPr sz="1012"/>
            </a:lvl8pPr>
            <a:lvl9pPr>
              <a:defRPr sz="1012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7304" y="1869443"/>
            <a:ext cx="4042800" cy="4256075"/>
          </a:xfrm>
        </p:spPr>
        <p:txBody>
          <a:bodyPr/>
          <a:lstStyle>
            <a:lvl1pPr>
              <a:defRPr sz="1124">
                <a:solidFill>
                  <a:schemeClr val="bg1"/>
                </a:solidFill>
              </a:defRPr>
            </a:lvl1pPr>
            <a:lvl2pPr>
              <a:defRPr sz="1012">
                <a:solidFill>
                  <a:schemeClr val="bg1"/>
                </a:solidFill>
              </a:defRPr>
            </a:lvl2pPr>
            <a:lvl3pPr>
              <a:defRPr sz="899">
                <a:solidFill>
                  <a:schemeClr val="bg1"/>
                </a:solidFill>
              </a:defRPr>
            </a:lvl3pPr>
            <a:lvl4pPr>
              <a:defRPr sz="787">
                <a:solidFill>
                  <a:schemeClr val="bg1"/>
                </a:solidFill>
              </a:defRPr>
            </a:lvl4pPr>
            <a:lvl5pPr>
              <a:defRPr sz="675">
                <a:solidFill>
                  <a:schemeClr val="bg1"/>
                </a:solidFill>
              </a:defRPr>
            </a:lvl5pPr>
            <a:lvl6pPr>
              <a:defRPr sz="1012"/>
            </a:lvl6pPr>
            <a:lvl7pPr>
              <a:defRPr sz="1012"/>
            </a:lvl7pPr>
            <a:lvl8pPr>
              <a:defRPr sz="1012"/>
            </a:lvl8pPr>
            <a:lvl9pPr>
              <a:defRPr sz="1012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1" y="1137920"/>
            <a:ext cx="40428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47304" y="1137920"/>
            <a:ext cx="40428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1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12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FCA5F9A-0842-4BED-A447-9C3F6915DCDD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16D3C7FA-0034-41F1-8F3D-82A19802CA0B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8AD82-A588-4EFB-A956-62AC671AB8A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F77DB56-43F3-4932-8420-FA767EBAB47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2131790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B7547C-9236-44B2-927D-EE1C7DF06D3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E7E48C62-EF70-4649-BEE5-7088B7A72173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E2AC0F-F4F4-46F1-8E38-470CA2132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B301A4-CE65-4914-B017-DED28C2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55439534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3A9D79-13D5-4189-B325-32C1E30071D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BFF38A36-9DCC-476A-8342-5844FA866458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690CD3-106E-4E37-A338-7D12BDB87E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97AA2E-8C14-46B6-80A1-837B7775D6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88223573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813CB0-F911-4F63-ADF4-31E748E46E9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400D4070-0F17-4C2D-8110-266E478443EB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E00D68-E42E-4E18-97BC-09F3CC3C71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09C18C-4659-4936-9B48-47D9169929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090465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1F7CA26-2B7B-4622-93A8-93EC10CCBE9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47904799-D735-4440-A19F-2F01569ACB38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0E24E25-AADE-42B5-BB07-A8C5FC7FBF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9B93A4-EF49-4605-8E7D-22AB1304F1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A3678118-FB9F-46C1-A6F2-3E42EC5536B0}"/>
              </a:ext>
            </a:extLst>
          </p:cNvPr>
          <p:cNvSpPr>
            <a:spLocks/>
          </p:cNvSpPr>
          <p:nvPr userDrawn="1"/>
        </p:nvSpPr>
        <p:spPr bwMode="gray">
          <a:xfrm>
            <a:off x="457200" y="1039817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63305" tIns="31652" rIns="63305" bIns="31652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4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1D46014-541B-4C37-8BD9-33F3A3BE76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65630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787414" cy="685799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20418" y="294200"/>
            <a:ext cx="6665528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020417" y="1137921"/>
            <a:ext cx="2056091" cy="5018184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293076" y="1137921"/>
            <a:ext cx="2101787" cy="5018184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6611431" y="1137922"/>
            <a:ext cx="2075369" cy="2796151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7" name="Line 10">
            <a:extLst>
              <a:ext uri="{FF2B5EF4-FFF2-40B4-BE49-F238E27FC236}">
                <a16:creationId xmlns:a16="http://schemas.microsoft.com/office/drawing/2014/main" id="{1FE654FB-261F-44E5-8EF9-237DB835D71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023353" y="907750"/>
            <a:ext cx="669263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3AD698-0E41-4FCF-AB31-51B8D1AE402F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008048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74D423C1-5CD3-415D-A855-9D6628B7C2DD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9018413-4A60-4C02-9E4A-E0257623113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74983C1-0EF4-4B2C-97F2-6888EAEE5D8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457201" y="6516456"/>
            <a:ext cx="663066" cy="180000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Стр.</a:t>
            </a:r>
            <a:r>
              <a:rPr lang="en-GB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11255210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58AD78-6C49-405F-80BD-8F5F9CFAD79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CEC94C50-DA7E-44E6-97D6-418D86EB1BE6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A3A6C55-F277-42AF-8500-E16F039B9A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368E36-B58F-4FD6-B92E-04754A1D83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93475599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9144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E480A10-F3A8-4482-9A96-E4A2985059D6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BD570656-E1C8-4CDF-8448-CAC404D99B8E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D942338-84D5-44C7-ADEC-04C9C56CF23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AC4917-7B6B-475D-AAE6-8F714438F25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64883126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719139"/>
            <a:ext cx="3506400" cy="5210062"/>
          </a:xfrm>
        </p:spPr>
        <p:txBody>
          <a:bodyPr/>
          <a:lstStyle>
            <a:lvl1pPr marL="0" indent="0" algn="l" defTabSz="55959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675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55959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506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99067" indent="-99067" algn="l" defTabSz="55959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506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55959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45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06207" indent="-106207" algn="l" defTabSz="55959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45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43422633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34592489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065" y="2504281"/>
            <a:ext cx="3334113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7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00489" marR="0" lvl="0" indent="-200489" defTabSz="566634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42413CE-C4D0-4ABD-A496-80941F07BDB0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A5597E02-1EF9-4373-B932-BB6E596D0008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6AF2A22-94A3-41BF-9F87-44E3FEF33B4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5C79A1-12F2-4F8B-A8F3-F46D58F4CB3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47197912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"/>
            <a:ext cx="1787414" cy="6857999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20419" y="294200"/>
            <a:ext cx="6665528" cy="59040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020418" y="1137921"/>
            <a:ext cx="2056091" cy="5018184"/>
          </a:xfrm>
        </p:spPr>
        <p:txBody>
          <a:bodyPr/>
          <a:lstStyle>
            <a:lvl1pPr marL="0" indent="0">
              <a:buNone/>
              <a:defRPr sz="1012">
                <a:solidFill>
                  <a:schemeClr val="bg1"/>
                </a:solidFill>
              </a:defRPr>
            </a:lvl1pPr>
            <a:lvl2pPr marL="200489" indent="0">
              <a:buNone/>
              <a:defRPr sz="1012">
                <a:solidFill>
                  <a:schemeClr val="bg1"/>
                </a:solidFill>
              </a:defRPr>
            </a:lvl2pPr>
            <a:lvl3pPr marL="400979" indent="0">
              <a:buNone/>
              <a:defRPr sz="899">
                <a:solidFill>
                  <a:schemeClr val="bg1"/>
                </a:solidFill>
              </a:defRPr>
            </a:lvl3pPr>
            <a:lvl4pPr marL="601469" indent="0">
              <a:buNone/>
              <a:defRPr sz="787">
                <a:solidFill>
                  <a:schemeClr val="bg1"/>
                </a:solidFill>
              </a:defRPr>
            </a:lvl4pPr>
            <a:lvl5pPr marL="801958" indent="0">
              <a:buNone/>
              <a:defRPr sz="675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293077" y="1137921"/>
            <a:ext cx="2101787" cy="5018184"/>
          </a:xfrm>
        </p:spPr>
        <p:txBody>
          <a:bodyPr numCol="1"/>
          <a:lstStyle>
            <a:lvl1pPr marL="0" indent="0">
              <a:buNone/>
              <a:defRPr sz="787">
                <a:solidFill>
                  <a:schemeClr val="bg1"/>
                </a:solidFill>
              </a:defRPr>
            </a:lvl1pPr>
            <a:lvl2pPr marL="200489" indent="0">
              <a:buNone/>
              <a:defRPr sz="1012">
                <a:solidFill>
                  <a:schemeClr val="bg1"/>
                </a:solidFill>
              </a:defRPr>
            </a:lvl2pPr>
            <a:lvl3pPr marL="400979" indent="0">
              <a:buNone/>
              <a:defRPr sz="899">
                <a:solidFill>
                  <a:schemeClr val="bg1"/>
                </a:solidFill>
              </a:defRPr>
            </a:lvl3pPr>
            <a:lvl4pPr marL="601469" indent="0">
              <a:buNone/>
              <a:defRPr sz="787">
                <a:solidFill>
                  <a:schemeClr val="bg1"/>
                </a:solidFill>
              </a:defRPr>
            </a:lvl4pPr>
            <a:lvl5pPr marL="801958" indent="0">
              <a:buNone/>
              <a:defRPr sz="675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6611432" y="1137924"/>
            <a:ext cx="2075369" cy="2796151"/>
          </a:xfrm>
        </p:spPr>
        <p:txBody>
          <a:bodyPr numCol="1"/>
          <a:lstStyle>
            <a:lvl1pPr marL="0" indent="0">
              <a:buNone/>
              <a:defRPr sz="787">
                <a:solidFill>
                  <a:schemeClr val="bg1"/>
                </a:solidFill>
              </a:defRPr>
            </a:lvl1pPr>
            <a:lvl2pPr marL="200489" indent="0">
              <a:buNone/>
              <a:defRPr sz="1012">
                <a:solidFill>
                  <a:schemeClr val="bg1"/>
                </a:solidFill>
              </a:defRPr>
            </a:lvl2pPr>
            <a:lvl3pPr marL="400979" indent="0">
              <a:buNone/>
              <a:defRPr sz="899">
                <a:solidFill>
                  <a:schemeClr val="bg1"/>
                </a:solidFill>
              </a:defRPr>
            </a:lvl3pPr>
            <a:lvl4pPr marL="601469" indent="0">
              <a:buNone/>
              <a:defRPr sz="787">
                <a:solidFill>
                  <a:schemeClr val="bg1"/>
                </a:solidFill>
              </a:defRPr>
            </a:lvl4pPr>
            <a:lvl5pPr marL="801958" indent="0">
              <a:buNone/>
              <a:defRPr sz="675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7" name="Line 10">
            <a:extLst>
              <a:ext uri="{FF2B5EF4-FFF2-40B4-BE49-F238E27FC236}">
                <a16:creationId xmlns:a16="http://schemas.microsoft.com/office/drawing/2014/main" id="{1FE654FB-261F-44E5-8EF9-237DB835D71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023354" y="907750"/>
            <a:ext cx="669263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50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3AD698-0E41-4FCF-AB31-51B8D1AE402F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86AC4EAF-3411-4527-A4CA-E794DD2CD631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9018413-4A60-4C02-9E4A-E0257623113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74983C1-0EF4-4B2C-97F2-6888EAEE5D8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457201" y="6516456"/>
            <a:ext cx="663066" cy="180000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Стр.</a:t>
            </a:r>
            <a:r>
              <a:rPr lang="en-GB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9867633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Cover alternate">
    <p:bg>
      <p:bgPr>
        <a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9C0DD7D-5B2C-4539-8FE2-07617C2EF1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83952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1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9C0DD7D-5B2C-4539-8FE2-07617C2EF1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128D225-A95C-4182-BE44-3E9027AF283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 rtl="0"/>
            <a:endParaRPr kumimoji="0" lang="ru-RU" sz="2400" b="0" i="0" u="none" cap="none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945AD81-9D09-493D-94B8-1CAA625F68C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0361" y="5340096"/>
            <a:ext cx="987552" cy="1156968"/>
          </a:xfrm>
          <a:prstGeom prst="rect">
            <a:avLst/>
          </a:prstGeom>
        </p:spPr>
      </p:pic>
      <p:sp>
        <p:nvSpPr>
          <p:cNvPr id="7" name="Freeform 5">
            <a:extLst>
              <a:ext uri="{FF2B5EF4-FFF2-40B4-BE49-F238E27FC236}">
                <a16:creationId xmlns:a16="http://schemas.microsoft.com/office/drawing/2014/main" id="{B7F2A12E-7729-47A0-BC4C-937A569C1503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70054" y="457199"/>
            <a:ext cx="4507059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306FE6B-2888-42EC-9409-22E0C44C3E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6326" y="1476597"/>
            <a:ext cx="4064949" cy="860400"/>
          </a:xfrm>
        </p:spPr>
        <p:txBody>
          <a:bodyPr/>
          <a:lstStyle>
            <a:lvl1pPr>
              <a:defRPr sz="2400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GB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2FC3DF6-2861-4293-9E33-F3E405EF9F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6325" y="3337832"/>
            <a:ext cx="4064949" cy="3912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 b="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ru-RU" dirty="0">
                <a:solidFill>
                  <a:schemeClr val="bg1"/>
                </a:solidFill>
              </a:rPr>
              <a:t>Август, 2020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90789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/>
        </p:nvCxnSpPr>
        <p:spPr>
          <a:xfrm>
            <a:off x="999368" y="5709060"/>
            <a:ext cx="6088405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/>
        </p:nvSpPr>
        <p:spPr>
          <a:xfrm>
            <a:off x="346308" y="5605201"/>
            <a:ext cx="783397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9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9368" y="6019189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99368" y="6216807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0F898568-1B78-454B-9FE7-9E37EEF85A89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70054" y="457199"/>
            <a:ext cx="4507059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C105A121-2DA3-4610-BC32-EBB7F8ABAFD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6326" y="1476597"/>
            <a:ext cx="3813414" cy="860400"/>
          </a:xfrm>
        </p:spPr>
        <p:txBody>
          <a:bodyPr/>
          <a:lstStyle>
            <a:lvl1pPr>
              <a:defRPr sz="3000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 dirty="0"/>
              <a:t>Title (EY Interstate </a:t>
            </a:r>
            <a:r>
              <a:rPr lang="en-GB"/>
              <a:t>Light 30 </a:t>
            </a:r>
            <a:r>
              <a:rPr lang="en-GB" dirty="0"/>
              <a:t>point)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61BB2EE4-E5D4-4DD9-97C5-CF16A0A2327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6327" y="2422864"/>
            <a:ext cx="3813414" cy="64574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600" dirty="0"/>
              <a:t>Subtitle (EY Interstate 16 point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b="1" dirty="0"/>
              <a:t>XX Month 200X (EY Interstate bold 16 point)</a:t>
            </a:r>
            <a:endParaRPr lang="en-GB" sz="1600" dirty="0"/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403A0AAB-2D99-480E-8BCB-0300B2E4CA7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88" y="5340350"/>
            <a:ext cx="987425" cy="1157288"/>
            <a:chOff x="4857" y="3364"/>
            <a:chExt cx="622" cy="729"/>
          </a:xfrm>
        </p:grpSpPr>
        <p:sp>
          <p:nvSpPr>
            <p:cNvPr id="6" name="AutoShape 3">
              <a:extLst>
                <a:ext uri="{FF2B5EF4-FFF2-40B4-BE49-F238E27FC236}">
                  <a16:creationId xmlns:a16="http://schemas.microsoft.com/office/drawing/2014/main" id="{136D971F-E278-4FE8-BAE4-2AD4D04270F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1954568E-D3F2-4EA1-8901-CBA2FF03DD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E19C9D94-B5B9-4323-A444-83000773662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tx1"/>
                </a:solidFill>
              </a:endParaRPr>
            </a:p>
          </p:txBody>
        </p:sp>
      </p:grp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14F1DE27-AD0C-4A9A-9D8D-4F823ECEAD7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6306" y="5914642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5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9295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/>
        </p:nvCxnSpPr>
        <p:spPr>
          <a:xfrm>
            <a:off x="999368" y="5709060"/>
            <a:ext cx="6088405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/>
        </p:nvSpPr>
        <p:spPr>
          <a:xfrm>
            <a:off x="346308" y="5605201"/>
            <a:ext cx="783397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9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6308" y="6019189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6308" y="6216807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8" name="Freeform 5">
            <a:extLst>
              <a:ext uri="{FF2B5EF4-FFF2-40B4-BE49-F238E27FC236}">
                <a16:creationId xmlns:a16="http://schemas.microsoft.com/office/drawing/2014/main" id="{160A7550-5D67-4923-A7BC-21E832215440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70054" y="457199"/>
            <a:ext cx="4507059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D57A982A-5252-472B-BD55-97D51532138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6326" y="1476597"/>
            <a:ext cx="3813414" cy="860400"/>
          </a:xfrm>
        </p:spPr>
        <p:txBody>
          <a:bodyPr/>
          <a:lstStyle>
            <a:lvl1pPr>
              <a:defRPr sz="3000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 dirty="0"/>
              <a:t>Title (EY Interstate </a:t>
            </a:r>
            <a:r>
              <a:rPr lang="en-GB"/>
              <a:t>Light 30 </a:t>
            </a:r>
            <a:r>
              <a:rPr lang="en-GB" dirty="0"/>
              <a:t>point)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F809C9F7-7674-4F00-8A7B-4EBDB5F94FB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6327" y="2422864"/>
            <a:ext cx="3813414" cy="64574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600" dirty="0"/>
              <a:t>Subtitle (EY Interstate 16 point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b="1" dirty="0"/>
              <a:t>XX Month 200X (EY Interstate bold 16 point)</a:t>
            </a:r>
            <a:endParaRPr lang="en-GB" sz="1600" dirty="0"/>
          </a:p>
        </p:txBody>
      </p:sp>
      <p:grpSp>
        <p:nvGrpSpPr>
          <p:cNvPr id="22" name="Group 4">
            <a:extLst>
              <a:ext uri="{FF2B5EF4-FFF2-40B4-BE49-F238E27FC236}">
                <a16:creationId xmlns:a16="http://schemas.microsoft.com/office/drawing/2014/main" id="{2FBA4DFB-2D74-4887-91FA-9FE36EADD25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88" y="5340350"/>
            <a:ext cx="987425" cy="1157288"/>
            <a:chOff x="4857" y="3364"/>
            <a:chExt cx="622" cy="729"/>
          </a:xfrm>
        </p:grpSpPr>
        <p:sp>
          <p:nvSpPr>
            <p:cNvPr id="23" name="AutoShape 3">
              <a:extLst>
                <a:ext uri="{FF2B5EF4-FFF2-40B4-BE49-F238E27FC236}">
                  <a16:creationId xmlns:a16="http://schemas.microsoft.com/office/drawing/2014/main" id="{B223B0E3-13DC-4092-840F-C19C33D0170D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720F86E7-783D-48A5-9A99-BBE51AD8BB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8EA618E4-F6E6-47C9-85C3-E1EF97EB6DF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7497227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5">
            <a:extLst>
              <a:ext uri="{FF2B5EF4-FFF2-40B4-BE49-F238E27FC236}">
                <a16:creationId xmlns:a16="http://schemas.microsoft.com/office/drawing/2014/main" id="{770C05D4-D8C4-4691-89DC-120E06C0A0E8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70054" y="457199"/>
            <a:ext cx="4507059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750119" y="1677507"/>
            <a:ext cx="3957735" cy="860400"/>
          </a:xfrm>
        </p:spPr>
        <p:txBody>
          <a:bodyPr/>
          <a:lstStyle>
            <a:lvl1pPr>
              <a:defRPr sz="3000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 dirty="0"/>
              <a:t>Title (EY Interstate </a:t>
            </a:r>
            <a:r>
              <a:rPr lang="en-GB"/>
              <a:t>Light 30 </a:t>
            </a:r>
            <a:r>
              <a:rPr lang="en-GB" dirty="0"/>
              <a:t>point)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50119" y="2685128"/>
            <a:ext cx="3957735" cy="64574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600" dirty="0"/>
              <a:t>Subtitle (EY Interstate 16 point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GB" dirty="0">
                <a:latin typeface="EYInterstate" panose="02000503020000020004" pitchFamily="2" charset="0"/>
              </a:rPr>
              <a:t>XX Month 200X (EY Interstate bold 16 point)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77AB755-0634-43A3-B427-C896D8448ABA}"/>
              </a:ext>
            </a:extLst>
          </p:cNvPr>
          <p:cNvCxnSpPr>
            <a:cxnSpLocks/>
          </p:cNvCxnSpPr>
          <p:nvPr userDrawn="1"/>
        </p:nvCxnSpPr>
        <p:spPr>
          <a:xfrm>
            <a:off x="1333184" y="5691442"/>
            <a:ext cx="5669280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5246095A-D7CE-45C6-8BF9-B5543F78C034}"/>
              </a:ext>
            </a:extLst>
          </p:cNvPr>
          <p:cNvSpPr txBox="1"/>
          <p:nvPr userDrawn="1"/>
        </p:nvSpPr>
        <p:spPr>
          <a:xfrm>
            <a:off x="461984" y="5587582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9D785C9C-C30C-4D97-AE69-8F7DD8E35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184" y="6001571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  <a:latin typeface="EYInterstate Light" panose="02000506000000020004" pitchFamily="2" charset="0"/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E9ED2CF-644F-4B9E-820F-6BF4B84D684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184" y="6199189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rgbClr val="FFD200"/>
                </a:solidFill>
                <a:latin typeface="EYInterstate Light" panose="02000506000000020004" pitchFamily="2" charset="0"/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9" name="Picture Placeholder 19">
            <a:extLst>
              <a:ext uri="{FF2B5EF4-FFF2-40B4-BE49-F238E27FC236}">
                <a16:creationId xmlns:a16="http://schemas.microsoft.com/office/drawing/2014/main" id="{220D652C-43A8-4888-A086-F26EAFCF8D7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983" y="5897024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  <a:latin typeface="EYInterstate Light" panose="02000506000000020004" pitchFamily="2" charset="0"/>
              </a:defRPr>
            </a:lvl1pPr>
          </a:lstStyle>
          <a:p>
            <a:endParaRPr lang="en-GB" dirty="0"/>
          </a:p>
        </p:txBody>
      </p:sp>
      <p:grpSp>
        <p:nvGrpSpPr>
          <p:cNvPr id="20" name="Group 4">
            <a:extLst>
              <a:ext uri="{FF2B5EF4-FFF2-40B4-BE49-F238E27FC236}">
                <a16:creationId xmlns:a16="http://schemas.microsoft.com/office/drawing/2014/main" id="{2FBA4DFB-2D74-4887-91FA-9FE36EADD25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88" y="5340350"/>
            <a:ext cx="987425" cy="1157288"/>
            <a:chOff x="4857" y="3364"/>
            <a:chExt cx="622" cy="729"/>
          </a:xfrm>
        </p:grpSpPr>
        <p:sp>
          <p:nvSpPr>
            <p:cNvPr id="21" name="AutoShape 3">
              <a:extLst>
                <a:ext uri="{FF2B5EF4-FFF2-40B4-BE49-F238E27FC236}">
                  <a16:creationId xmlns:a16="http://schemas.microsoft.com/office/drawing/2014/main" id="{B223B0E3-13DC-4092-840F-C19C33D0170D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720F86E7-783D-48A5-9A99-BBE51AD8BB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8EA618E4-F6E6-47C9-85C3-E1EF97EB6DF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2399634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/>
        </p:nvCxnSpPr>
        <p:spPr>
          <a:xfrm>
            <a:off x="999368" y="5709060"/>
            <a:ext cx="6088405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/>
        </p:nvSpPr>
        <p:spPr>
          <a:xfrm>
            <a:off x="346308" y="5605201"/>
            <a:ext cx="783397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9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9368" y="6019189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rgbClr val="FFE600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99368" y="6216807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6306" y="5914642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5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B6661E04-62F9-49DE-9D93-2EA0C4C0A7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0361" y="5340096"/>
            <a:ext cx="987552" cy="1156968"/>
          </a:xfrm>
          <a:prstGeom prst="rect">
            <a:avLst/>
          </a:prstGeom>
        </p:spPr>
      </p:pic>
      <p:sp>
        <p:nvSpPr>
          <p:cNvPr id="16" name="Freeform 5">
            <a:extLst>
              <a:ext uri="{FF2B5EF4-FFF2-40B4-BE49-F238E27FC236}">
                <a16:creationId xmlns:a16="http://schemas.microsoft.com/office/drawing/2014/main" id="{017BE7DF-E067-42BE-86C9-5E49A33A0BAF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70054" y="457199"/>
            <a:ext cx="4507059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8F5BDD25-228C-421A-BA27-E07AC1CA18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6326" y="1476597"/>
            <a:ext cx="3813414" cy="860400"/>
          </a:xfrm>
        </p:spPr>
        <p:txBody>
          <a:bodyPr/>
          <a:lstStyle>
            <a:lvl1pPr>
              <a:defRPr sz="3000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 dirty="0"/>
              <a:t>Title (EY Interstate </a:t>
            </a:r>
            <a:r>
              <a:rPr lang="en-GB"/>
              <a:t>Light 30 </a:t>
            </a:r>
            <a:r>
              <a:rPr lang="en-GB" dirty="0"/>
              <a:t>point)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7BD2205D-98B4-4946-A01D-362BEB8CC27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6327" y="2422864"/>
            <a:ext cx="3813414" cy="64574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600" dirty="0"/>
              <a:t>Subtitle (EY Interstate 16 point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b="1" dirty="0"/>
              <a:t>XX Month 200X (EY Interstate bold 16 point)</a:t>
            </a:r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22540683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67954" y="0"/>
            <a:ext cx="4476046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1936" y="2050889"/>
            <a:ext cx="3401698" cy="1055708"/>
          </a:xfrm>
        </p:spPr>
        <p:txBody>
          <a:bodyPr/>
          <a:lstStyle>
            <a:lvl1pPr marL="0" indent="0">
              <a:buNone/>
              <a:defRPr sz="2249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1936" y="3312530"/>
            <a:ext cx="3401698" cy="1055708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IN" dirty="0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D5FA5F4-2C73-4B43-B1F9-ACD0523E32E1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008048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3CA59010-10D7-4E59-9F99-D9C9381C7D44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0F2117D-1604-45F6-B4EC-F3C188119CD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BCD1EA-7C3D-4424-8A2B-88892F289C7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457201" y="6516456"/>
            <a:ext cx="663066" cy="180000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Стр.</a:t>
            </a:r>
            <a:r>
              <a:rPr lang="en-GB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90419034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Picture 118">
            <a:extLst>
              <a:ext uri="{FF2B5EF4-FFF2-40B4-BE49-F238E27FC236}">
                <a16:creationId xmlns:a16="http://schemas.microsoft.com/office/drawing/2014/main" id="{EAA736A0-D2E9-4CA1-BF9F-5E33CF39B8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457200"/>
            <a:ext cx="4654295" cy="3930900"/>
          </a:xfrm>
          <a:prstGeom prst="rect">
            <a:avLst/>
          </a:prstGeom>
        </p:spPr>
      </p:pic>
      <p:grpSp>
        <p:nvGrpSpPr>
          <p:cNvPr id="79" name="Group 4">
            <a:extLst>
              <a:ext uri="{FF2B5EF4-FFF2-40B4-BE49-F238E27FC236}">
                <a16:creationId xmlns:a16="http://schemas.microsoft.com/office/drawing/2014/main" id="{A159D8C9-C19B-4DF7-9C5A-22EDB8A5FB9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88" y="5340350"/>
            <a:ext cx="987425" cy="1157288"/>
            <a:chOff x="4857" y="3364"/>
            <a:chExt cx="622" cy="729"/>
          </a:xfrm>
        </p:grpSpPr>
        <p:sp>
          <p:nvSpPr>
            <p:cNvPr id="80" name="AutoShape 3">
              <a:extLst>
                <a:ext uri="{FF2B5EF4-FFF2-40B4-BE49-F238E27FC236}">
                  <a16:creationId xmlns:a16="http://schemas.microsoft.com/office/drawing/2014/main" id="{D95FB310-FD8D-4315-8C3A-8966DC1515AB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1" name="Freeform 5">
              <a:extLst>
                <a:ext uri="{FF2B5EF4-FFF2-40B4-BE49-F238E27FC236}">
                  <a16:creationId xmlns:a16="http://schemas.microsoft.com/office/drawing/2014/main" id="{B0F72F2B-2B88-4D56-A5C3-5C83787BA0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2" name="Freeform 6">
              <a:extLst>
                <a:ext uri="{FF2B5EF4-FFF2-40B4-BE49-F238E27FC236}">
                  <a16:creationId xmlns:a16="http://schemas.microsoft.com/office/drawing/2014/main" id="{900DB62A-8F2A-4742-9C40-2FC7AA18235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pic>
        <p:nvPicPr>
          <p:cNvPr id="83" name="Picture 82">
            <a:extLst>
              <a:ext uri="{FF2B5EF4-FFF2-40B4-BE49-F238E27FC236}">
                <a16:creationId xmlns:a16="http://schemas.microsoft.com/office/drawing/2014/main" id="{23B9FB7E-B586-4378-AE43-0A9B9CA0B98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5914517"/>
            <a:ext cx="3780000" cy="618750"/>
          </a:xfrm>
          <a:prstGeom prst="rect">
            <a:avLst/>
          </a:prstGeom>
        </p:spPr>
      </p:pic>
      <p:sp>
        <p:nvSpPr>
          <p:cNvPr id="124" name="Subtitle 2">
            <a:extLst>
              <a:ext uri="{FF2B5EF4-FFF2-40B4-BE49-F238E27FC236}">
                <a16:creationId xmlns:a16="http://schemas.microsoft.com/office/drawing/2014/main" id="{DE813F69-7E98-49B9-A563-B5D224235BE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8191" y="2825612"/>
            <a:ext cx="3612689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FFFFFF"/>
                </a:solidFill>
              </a:defRPr>
            </a:lvl2pPr>
            <a:lvl3pPr marL="0" indent="0" algn="l">
              <a:buNone/>
              <a:defRPr sz="1600">
                <a:solidFill>
                  <a:srgbClr val="FFFFFF"/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25" name="Title 1">
            <a:extLst>
              <a:ext uri="{FF2B5EF4-FFF2-40B4-BE49-F238E27FC236}">
                <a16:creationId xmlns:a16="http://schemas.microsoft.com/office/drawing/2014/main" id="{6135F81D-3120-4669-8305-5AB7CAA0504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88191" y="1855166"/>
            <a:ext cx="3612689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5779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5" name="Group 4">
            <a:extLst>
              <a:ext uri="{FF2B5EF4-FFF2-40B4-BE49-F238E27FC236}">
                <a16:creationId xmlns:a16="http://schemas.microsoft.com/office/drawing/2014/main" id="{916D9572-5294-4C0A-83C4-99E45F89495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88" y="5340350"/>
            <a:ext cx="987425" cy="1157288"/>
            <a:chOff x="4857" y="3364"/>
            <a:chExt cx="622" cy="729"/>
          </a:xfrm>
        </p:grpSpPr>
        <p:sp>
          <p:nvSpPr>
            <p:cNvPr id="86" name="AutoShape 3">
              <a:extLst>
                <a:ext uri="{FF2B5EF4-FFF2-40B4-BE49-F238E27FC236}">
                  <a16:creationId xmlns:a16="http://schemas.microsoft.com/office/drawing/2014/main" id="{5667BEF9-3DFA-4239-A852-71BA27EC8E18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7" name="Freeform 5">
              <a:extLst>
                <a:ext uri="{FF2B5EF4-FFF2-40B4-BE49-F238E27FC236}">
                  <a16:creationId xmlns:a16="http://schemas.microsoft.com/office/drawing/2014/main" id="{7E85CBCB-BA9A-4374-A431-F4DC5F8079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8" name="Freeform 6">
              <a:extLst>
                <a:ext uri="{FF2B5EF4-FFF2-40B4-BE49-F238E27FC236}">
                  <a16:creationId xmlns:a16="http://schemas.microsoft.com/office/drawing/2014/main" id="{5C0EF3BA-6104-4E1B-9F18-E642314A9A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pic>
        <p:nvPicPr>
          <p:cNvPr id="89" name="Picture 88">
            <a:extLst>
              <a:ext uri="{FF2B5EF4-FFF2-40B4-BE49-F238E27FC236}">
                <a16:creationId xmlns:a16="http://schemas.microsoft.com/office/drawing/2014/main" id="{BEA87971-BB0B-4ED2-8AC3-71D5B1159A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777240"/>
            <a:ext cx="6753225" cy="3400425"/>
          </a:xfrm>
          <a:prstGeom prst="rect">
            <a:avLst/>
          </a:prstGeom>
        </p:spPr>
      </p:pic>
      <p:sp>
        <p:nvSpPr>
          <p:cNvPr id="90" name="Subtitle 2">
            <a:extLst>
              <a:ext uri="{FF2B5EF4-FFF2-40B4-BE49-F238E27FC236}">
                <a16:creationId xmlns:a16="http://schemas.microsoft.com/office/drawing/2014/main" id="{D57E11BD-E2D9-41B1-9EF5-FF1EA0B8EB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8191" y="3258529"/>
            <a:ext cx="5943432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FFFFFF"/>
                </a:solidFill>
              </a:defRPr>
            </a:lvl2pPr>
            <a:lvl3pPr marL="0" indent="0" algn="l">
              <a:buNone/>
              <a:defRPr sz="1600">
                <a:solidFill>
                  <a:srgbClr val="FFFFFF"/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91" name="Title 1">
            <a:extLst>
              <a:ext uri="{FF2B5EF4-FFF2-40B4-BE49-F238E27FC236}">
                <a16:creationId xmlns:a16="http://schemas.microsoft.com/office/drawing/2014/main" id="{9E850DE9-7D5E-499B-8FA1-4143F639E0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88191" y="2288083"/>
            <a:ext cx="5943432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92" name="Picture 91">
            <a:extLst>
              <a:ext uri="{FF2B5EF4-FFF2-40B4-BE49-F238E27FC236}">
                <a16:creationId xmlns:a16="http://schemas.microsoft.com/office/drawing/2014/main" id="{620AFF6A-D70F-482C-ACA4-D71330481F1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5914517"/>
            <a:ext cx="3780000" cy="61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62987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1137920"/>
            <a:ext cx="82296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8197805-0689-4503-8125-F783F931714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25076755-5687-4D7F-83D1-5A2141D8256F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180DED-A206-48B8-8395-C38D75067D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21560" y="6516456"/>
            <a:ext cx="3695465" cy="1800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584CBDA-5400-4C9D-A814-1CE6E3FD4F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85780985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A80CEA2-D107-4E43-B632-8CAB22A8CAC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4D67AF60-DF2C-4DD5-A075-8C89863EB287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3FCC4BD-E0C7-4008-8760-F505B7C870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>
                <a:solidFill>
                  <a:srgbClr val="2E2E38"/>
                </a:solidFill>
              </a:rPr>
              <a:t>Анализ вклада отрасли добычи и переработки золота в экономику и социальное развитие Республики Казахстан</a:t>
            </a:r>
            <a:endParaRPr lang="ru-RU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3ED2ADF-C3C7-4D61-8B10-4ED75087C3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03666756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_no_top_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A80CEA2-D107-4E43-B632-8CAB22A8CAC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4D67AF60-DF2C-4DD5-A075-8C89863EB287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3FCC4BD-E0C7-4008-8760-F505B7C870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>
                <a:solidFill>
                  <a:srgbClr val="2E2E38"/>
                </a:solidFill>
              </a:rPr>
              <a:t>Анализ вклада отрасли добычи и переработки золота в экономику и социальное развитие Республики Казахстан</a:t>
            </a:r>
            <a:endParaRPr lang="ru-RU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3ED2ADF-C3C7-4D61-8B10-4ED75087C3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81347865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46139" y="1"/>
            <a:ext cx="2997862" cy="615610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558041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1137921"/>
            <a:ext cx="5471882" cy="873760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57201" y="2311401"/>
            <a:ext cx="2683690" cy="3844704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3245392" y="2311402"/>
            <a:ext cx="2683690" cy="1254759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245392" y="4236721"/>
            <a:ext cx="2683690" cy="1944160"/>
          </a:xfrm>
        </p:spPr>
        <p:txBody>
          <a:bodyPr numCol="1"/>
          <a:lstStyle>
            <a:lvl1pPr marL="0" indent="0">
              <a:buNone/>
              <a:defRPr sz="134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5789875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031161-0EF0-4994-BAAC-817AFCD5564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21F5ABFD-4D88-46E2-86D0-8E726758F477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4A1A6EA-628B-40CB-AD7E-45CB0B91C2D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099134-47E0-4E77-855E-45C10B9B8B1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83741474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787414" cy="685799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20418" y="294200"/>
            <a:ext cx="6665528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020417" y="1137921"/>
            <a:ext cx="2056091" cy="5018184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293076" y="1137921"/>
            <a:ext cx="2101787" cy="5018184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611431" y="1137922"/>
            <a:ext cx="2075369" cy="2796151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/>
        </p:nvSpPr>
        <p:spPr bwMode="auto">
          <a:xfrm>
            <a:off x="2020418" y="907750"/>
            <a:ext cx="6665528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E1076-97C0-41B2-AAE5-AD919BB2DC2E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82140DD7-24EE-4585-B854-30DE462353D6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A40DA20-3A42-4B9D-A853-92BEABFB15B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C6E24F-B7C3-43FD-BF17-E37070A300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3855855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1137920"/>
            <a:ext cx="6175841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95E81C-0962-435D-B7CC-E9E7007F1F8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16039ACA-DE51-4EBE-A0D1-6352F2D9BF3A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CDD1B3-89EC-47BA-A26E-D040220115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9ACB01-FCA5-4FE1-B210-29952B46CA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04542205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4463" y="2851522"/>
            <a:ext cx="3334113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699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9" marR="0" lvl="0" indent="-267319" defTabSz="75551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ACF31FF-92C4-4CFE-89C8-231A1B4903B6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2CFACC45-0700-46B3-A2A5-8EA5A5C07368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B72E31-AECD-4259-BF90-99398FE128B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DE2F2A-9E13-4DC5-89FE-0719F2B171F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634854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4463" y="2851522"/>
            <a:ext cx="3334113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699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9" marR="0" lvl="0" indent="-267319" defTabSz="75551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B824A25-AAE3-42CE-906A-12D97307C1F3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4C5782BF-F78E-4C8B-BFDA-73D158B024C4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DD7A84-5352-4432-83C2-4B3F3BD889A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5019A7-134D-49ED-8707-807B58B2E5D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732436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064" y="2504281"/>
            <a:ext cx="3334113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6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9" marR="0" lvl="0" indent="-267319" defTabSz="75551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2B00D41-84A6-4D84-AAAE-0067EC8AF9C6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2008048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05CF1D16-3507-42AF-A327-34DF5C214F9E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77F6EB-21D5-4EE8-8A81-25BDB5A28BA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A7FF3F-46CF-4130-9246-1A95F22F2C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457201" y="6516456"/>
            <a:ext cx="663066" cy="180000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Стр.</a:t>
            </a:r>
            <a:r>
              <a:rPr lang="en-GB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31638577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67954" y="0"/>
            <a:ext cx="4476046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7135" y="2578743"/>
            <a:ext cx="3401698" cy="1055708"/>
          </a:xfrm>
        </p:spPr>
        <p:txBody>
          <a:bodyPr/>
          <a:lstStyle>
            <a:lvl1pPr marL="0" indent="0">
              <a:buNone/>
              <a:defRPr sz="2249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77135" y="3840384"/>
            <a:ext cx="3401698" cy="1055708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IN" dirty="0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DA49F8-A774-4DD1-8745-65E01AB0472C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E6E457F2-A06A-4DF4-8FF2-B132707F3E39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4C0F4CC-50C9-4C20-A16A-91535919DC9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53C557-8F9C-4613-8095-373D3EE8052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19112393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457200" y="1137921"/>
            <a:ext cx="3716193" cy="4267457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41864" y="3813288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1864" y="4055931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89866" y="1137921"/>
            <a:ext cx="409693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89866" y="1635009"/>
            <a:ext cx="4096935" cy="1611554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US" dirty="0"/>
              <a:t>Content EY Interstate Light, 12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17" name="Picture Placeholder 19">
            <a:extLst>
              <a:ext uri="{FF2B5EF4-FFF2-40B4-BE49-F238E27FC236}">
                <a16:creationId xmlns:a16="http://schemas.microsoft.com/office/drawing/2014/main" id="{70E81591-07D5-438D-AAD4-4B9A889F448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589864" y="3578084"/>
            <a:ext cx="777600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5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B440ECC-CB43-49D3-ABF3-A5F4F308E7E2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C50D79EF-E63D-4EA1-82CF-CAE2A95C901A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4279E38-5A0D-4584-B4BB-113C1A4C50C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3F8B89-1ED7-4BD8-90B0-47F3DF32AD7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95762862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4">
            <a:extLst>
              <a:ext uri="{FF2B5EF4-FFF2-40B4-BE49-F238E27FC236}">
                <a16:creationId xmlns:a16="http://schemas.microsoft.com/office/drawing/2014/main" id="{54B0064F-CA12-4F8F-B694-23C41AD0F16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284464" y="6327648"/>
            <a:ext cx="402336" cy="412867"/>
            <a:chOff x="7110" y="4004"/>
            <a:chExt cx="191" cy="196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F93F004B-02B9-4455-A020-115CFB37BE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19F4E2CA-BA89-47F8-8C68-7CACFBAF82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32993525-96BF-457D-86C8-A5E217C20B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6" name="Date Placeholder 2">
            <a:extLst>
              <a:ext uri="{FF2B5EF4-FFF2-40B4-BE49-F238E27FC236}">
                <a16:creationId xmlns:a16="http://schemas.microsoft.com/office/drawing/2014/main" id="{D8973D65-036E-4D65-AAA3-1427C4AA0C9B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20EB5FB-88DA-42E2-9902-BFAB9334E948}" type="datetime3">
              <a:rPr lang="en-US" smtClean="0"/>
              <a:t>18 October 2021</a:t>
            </a:fld>
            <a:endParaRPr lang="en-US" dirty="0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9711A3A-DB5C-4C5F-BF5A-7DBDD6EFF607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3321561" y="6516456"/>
            <a:ext cx="30861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40A4236-AC64-456A-B3F9-BED41065570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363093" y="6516456"/>
            <a:ext cx="663066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9736844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F607F99-5C2B-4FC6-A3DF-23E011C842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4464" y="6327648"/>
            <a:ext cx="402504" cy="411480"/>
          </a:xfrm>
          <a:prstGeom prst="rect">
            <a:avLst/>
          </a:prstGeom>
        </p:spPr>
      </p:pic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8FBE9395-9BF1-4306-9F29-1F8E92C9F8DB}"/>
              </a:ext>
            </a:extLst>
          </p:cNvPr>
          <p:cNvSpPr txBox="1">
            <a:spLocks/>
          </p:cNvSpPr>
          <p:nvPr userDrawn="1"/>
        </p:nvSpPr>
        <p:spPr>
          <a:xfrm>
            <a:off x="3757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200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87DD12F9-AC78-4784-A2C0-5FB6EC5A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1750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3BB2527F-4DCE-4CB5-A96D-2E432FD5A07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1750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Name Surnam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7DFFB3C-E689-440E-8EDB-465853B3460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1750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Job Title</a:t>
            </a:r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09667CEE-F273-4416-9D45-A0E825F14911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284464" y="6327648"/>
            <a:ext cx="402336" cy="412867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3F5A26-EE33-4654-ACA2-880B36B275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325D6EF1-9951-4386-9E98-24FDBF5827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572CC147-C47E-4B17-9D76-D39D3C36CE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2782512494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BD7B1EAA-D62E-426F-9D29-F674CEB29C3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26000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 algn="ctr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C43D8C34-69FC-4DEE-BC95-D2F629475EB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26000" y="551683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78FCBB-C01D-4FF8-828E-0E27552CA9C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926000" y="582887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Job Titl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0AD41D48-C813-4F78-A2C8-0758D2B7DC18}"/>
              </a:ext>
            </a:extLst>
          </p:cNvPr>
          <p:cNvSpPr txBox="1">
            <a:spLocks/>
          </p:cNvSpPr>
          <p:nvPr userDrawn="1"/>
        </p:nvSpPr>
        <p:spPr>
          <a:xfrm>
            <a:off x="3402806" y="979787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200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FF60CB08-2DD7-4911-8D80-BCAC7944540B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284464" y="6327648"/>
            <a:ext cx="402336" cy="412867"/>
            <a:chOff x="7110" y="4004"/>
            <a:chExt cx="191" cy="196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C7E6D8E8-E311-4EB7-AFAA-50963EA7B1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53EFA7D4-C8AD-4C58-A0EE-C2B700393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E459CDB2-C2F0-4E1A-AC90-F93C856AA5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3275048446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1137920"/>
            <a:ext cx="6175841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67319">
              <a:defRPr>
                <a:solidFill>
                  <a:schemeClr val="bg1"/>
                </a:solidFill>
              </a:defRPr>
            </a:lvl2pPr>
            <a:lvl3pPr marL="534639">
              <a:defRPr>
                <a:solidFill>
                  <a:schemeClr val="bg1"/>
                </a:solidFill>
              </a:defRPr>
            </a:lvl3pPr>
            <a:lvl4pPr marL="801958">
              <a:defRPr>
                <a:solidFill>
                  <a:schemeClr val="bg1"/>
                </a:solidFill>
              </a:defRPr>
            </a:lvl4pPr>
            <a:lvl5pPr marL="1069277"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BF0A34-C36D-461B-A015-21A5DA63B59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B8888596-508F-462B-B8B6-8FA53F52D1AD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ECF0E1-C505-48F8-AD92-7D8685FF48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682A11-B39D-4FE0-A53D-0F1661DE05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24163562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03DAEA1-6A90-4FC2-97C7-E8CE0391435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D9D13043-761F-484F-A1D9-D4AB681B3B46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B819100-2154-4CEF-A4AE-869A873311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B93803-CB8A-4830-8E96-5C407868A0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20516783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1" y="1137919"/>
            <a:ext cx="4038600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1" y="1137919"/>
            <a:ext cx="4038600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E1BDE01-7D08-4922-9259-4581BC33C3E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A407A766-6744-4FCF-AEA2-FA6B5CA7ADFF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29C6724-47E1-45B5-B455-099BFD53BB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8340A57-5875-43E6-BEEA-8CEBCDCA30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24749183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9247" y="1869441"/>
            <a:ext cx="4042800" cy="4256075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7304" y="1869441"/>
            <a:ext cx="4042800" cy="4256075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1" y="1137920"/>
            <a:ext cx="40428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47304" y="1137920"/>
            <a:ext cx="40428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FCA5F9A-0842-4BED-A447-9C3F6915DCDD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16D3C7FA-0034-41F1-8F3D-82A19802CA0B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8AD82-A588-4EFB-A956-62AC671AB8A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F77DB56-43F3-4932-8420-FA767EBAB47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83763055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B7547C-9236-44B2-927D-EE1C7DF06D3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E7E48C62-EF70-4649-BEE5-7088B7A72173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E2AC0F-F4F4-46F1-8E38-470CA2132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B301A4-CE65-4914-B017-DED28C2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8564222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240DE8-8F4D-4084-8CB3-259B7386B0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7F21B66-EF35-42E2-98F6-2B445D25885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008048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AB1ACC23-1F76-45DC-BECE-BB9731E26403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66EEFB-0946-4328-B1EF-7567E57C06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BE56A-99A8-45B4-A8F6-67B842B2AC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7201" y="6516456"/>
            <a:ext cx="663066" cy="180000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Стр.</a:t>
            </a:r>
            <a:r>
              <a:rPr lang="en-GB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26722286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3A9D79-13D5-4189-B325-32C1E30071D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BFF38A36-9DCC-476A-8342-5844FA866458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690CD3-106E-4E37-A338-7D12BDB87E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97AA2E-8C14-46B6-80A1-837B7775D6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05981974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813CB0-F911-4F63-ADF4-31E748E46E9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400D4070-0F17-4C2D-8110-266E478443EB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E00D68-E42E-4E18-97BC-09F3CC3C71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09C18C-4659-4936-9B48-47D9169929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74102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1F7CA26-2B7B-4622-93A8-93EC10CCBE9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47904799-D735-4440-A19F-2F01569ACB38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0E24E25-AADE-42B5-BB07-A8C5FC7FBF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9B93A4-EF49-4605-8E7D-22AB1304F1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A3678118-FB9F-46C1-A6F2-3E42EC5536B0}"/>
              </a:ext>
            </a:extLst>
          </p:cNvPr>
          <p:cNvSpPr>
            <a:spLocks/>
          </p:cNvSpPr>
          <p:nvPr userDrawn="1"/>
        </p:nvSpPr>
        <p:spPr bwMode="gray">
          <a:xfrm>
            <a:off x="457200" y="1039815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6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1D46014-541B-4C37-8BD9-33F3A3BE76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993923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58AD78-6C49-405F-80BD-8F5F9CFAD79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CEC94C50-DA7E-44E6-97D6-418D86EB1BE6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A3A6C55-F277-42AF-8500-E16F039B9A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368E36-B58F-4FD6-B92E-04754A1D83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60723862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9144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E480A10-F3A8-4482-9A96-E4A2985059D6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BD570656-E1C8-4CDF-8448-CAC404D99B8E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D942338-84D5-44C7-ADEC-04C9C56CF23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AC4917-7B6B-475D-AAE6-8F714438F25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23485543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719139"/>
            <a:ext cx="3506400" cy="5210062"/>
          </a:xfrm>
        </p:spPr>
        <p:txBody>
          <a:bodyPr/>
          <a:lstStyle>
            <a:lvl1pPr marL="0" indent="0" algn="l" defTabSz="746124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9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32089" indent="-13208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41609" indent="-14160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75961843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83635809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064" y="2504281"/>
            <a:ext cx="3334113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6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9" marR="0" lvl="0" indent="-267319" defTabSz="75551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42413CE-C4D0-4ABD-A496-80941F07BDB0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A5597E02-1EF9-4373-B932-BB6E596D0008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6AF2A22-94A3-41BF-9F87-44E3FEF33B4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5C79A1-12F2-4F8B-A8F3-F46D58F4CB3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37682986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787414" cy="6857999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20418" y="294200"/>
            <a:ext cx="6665528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020417" y="1137921"/>
            <a:ext cx="2056091" cy="5018184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293076" y="1137921"/>
            <a:ext cx="2101787" cy="5018184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6611431" y="1137922"/>
            <a:ext cx="2075369" cy="2796151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7" name="Line 10">
            <a:extLst>
              <a:ext uri="{FF2B5EF4-FFF2-40B4-BE49-F238E27FC236}">
                <a16:creationId xmlns:a16="http://schemas.microsoft.com/office/drawing/2014/main" id="{1FE654FB-261F-44E5-8EF9-237DB835D71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023353" y="907750"/>
            <a:ext cx="669263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3AD698-0E41-4FCF-AB31-51B8D1AE402F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86AC4EAF-3411-4527-A4CA-E794DD2CD631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9018413-4A60-4C02-9E4A-E0257623113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74983C1-0EF4-4B2C-97F2-6888EAEE5D8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457201" y="6516456"/>
            <a:ext cx="663066" cy="180000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Стр.</a:t>
            </a:r>
            <a:r>
              <a:rPr lang="en-GB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63657392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Cover alternate">
    <p:bg>
      <p:bgPr>
        <a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9C0DD7D-5B2C-4539-8FE2-07617C2EF1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6964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9" name="think-cell Slide" r:id="rId6" imgW="6350000" imgH="6350000" progId="TCLayout.ActiveDocument.1">
                  <p:embed/>
                </p:oleObj>
              </mc:Choice>
              <mc:Fallback>
                <p:oleObj name="think-cell Slide" r:id="rId6" imgW="6350000" imgH="63500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9C0DD7D-5B2C-4539-8FE2-07617C2EF13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128D225-A95C-4182-BE44-3E9027AF283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ru-RU" sz="30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945AD81-9D09-493D-94B8-1CAA625F68C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0361" y="5340096"/>
            <a:ext cx="987552" cy="1156968"/>
          </a:xfrm>
          <a:prstGeom prst="rect">
            <a:avLst/>
          </a:prstGeom>
        </p:spPr>
      </p:pic>
      <p:sp>
        <p:nvSpPr>
          <p:cNvPr id="7" name="Freeform 5">
            <a:extLst>
              <a:ext uri="{FF2B5EF4-FFF2-40B4-BE49-F238E27FC236}">
                <a16:creationId xmlns:a16="http://schemas.microsoft.com/office/drawing/2014/main" id="{B7F2A12E-7729-47A0-BC4C-937A569C1503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70054" y="457199"/>
            <a:ext cx="4507059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306FE6B-2888-42EC-9409-22E0C44C3E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6326" y="1476597"/>
            <a:ext cx="4064949" cy="860400"/>
          </a:xfrm>
        </p:spPr>
        <p:txBody>
          <a:bodyPr/>
          <a:lstStyle>
            <a:lvl1pPr>
              <a:defRPr sz="3000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ru-RU" dirty="0"/>
              <a:t>Стимулирование развития золотодобывающей отрасли Казахстана</a:t>
            </a:r>
            <a:endParaRPr lang="en-GB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2FC3DF6-2861-4293-9E33-F3E405EF9F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6325" y="3337832"/>
            <a:ext cx="4064949" cy="3912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 b="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ru-RU" dirty="0">
                <a:solidFill>
                  <a:schemeClr val="bg1"/>
                </a:solidFill>
              </a:rPr>
              <a:t>Август, 2020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26611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9C0DD7D-5B2C-4539-8FE2-07617C2EF1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23323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9C0DD7D-5B2C-4539-8FE2-07617C2EF1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128D225-A95C-4182-BE44-3E9027AF283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 rtl="0"/>
            <a:endParaRPr kumimoji="0" lang="ru-RU" sz="2400" b="0" i="0" u="none" cap="none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AD8C015-013C-4A1E-BC68-DCAD49C0C4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45" r="5240"/>
          <a:stretch/>
        </p:blipFill>
        <p:spPr>
          <a:xfrm>
            <a:off x="3176" y="-3048"/>
            <a:ext cx="9140824" cy="686104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945AD81-9D09-493D-94B8-1CAA625F68C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0361" y="5340096"/>
            <a:ext cx="987552" cy="1156968"/>
          </a:xfrm>
          <a:prstGeom prst="rect">
            <a:avLst/>
          </a:prstGeom>
        </p:spPr>
      </p:pic>
      <p:sp>
        <p:nvSpPr>
          <p:cNvPr id="7" name="Freeform 5">
            <a:extLst>
              <a:ext uri="{FF2B5EF4-FFF2-40B4-BE49-F238E27FC236}">
                <a16:creationId xmlns:a16="http://schemas.microsoft.com/office/drawing/2014/main" id="{B7F2A12E-7729-47A0-BC4C-937A569C1503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70054" y="457199"/>
            <a:ext cx="4507059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306FE6B-2888-42EC-9409-22E0C44C3E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6326" y="1476597"/>
            <a:ext cx="4064949" cy="860400"/>
          </a:xfrm>
        </p:spPr>
        <p:txBody>
          <a:bodyPr/>
          <a:lstStyle>
            <a:lvl1pPr>
              <a:defRPr sz="2400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GB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2FC3DF6-2861-4293-9E33-F3E405EF9F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6325" y="3337832"/>
            <a:ext cx="4064949" cy="3912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 b="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ru-RU" dirty="0">
                <a:solidFill>
                  <a:schemeClr val="bg1"/>
                </a:solidFill>
              </a:rPr>
              <a:t>Август, 2020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6009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/>
        </p:nvCxnSpPr>
        <p:spPr>
          <a:xfrm>
            <a:off x="999368" y="5709060"/>
            <a:ext cx="6088405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/>
        </p:nvSpPr>
        <p:spPr>
          <a:xfrm>
            <a:off x="346308" y="5605201"/>
            <a:ext cx="783397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9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9368" y="6019189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99368" y="6216807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0F898568-1B78-454B-9FE7-9E37EEF85A89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70054" y="457199"/>
            <a:ext cx="4507059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C105A121-2DA3-4610-BC32-EBB7F8ABAFD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6326" y="1476597"/>
            <a:ext cx="3813414" cy="860400"/>
          </a:xfrm>
        </p:spPr>
        <p:txBody>
          <a:bodyPr/>
          <a:lstStyle>
            <a:lvl1pPr>
              <a:defRPr sz="3000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 dirty="0"/>
              <a:t>Title (EY Interstate </a:t>
            </a:r>
            <a:r>
              <a:rPr lang="en-GB"/>
              <a:t>Light 30 </a:t>
            </a:r>
            <a:r>
              <a:rPr lang="en-GB" dirty="0"/>
              <a:t>point)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61BB2EE4-E5D4-4DD9-97C5-CF16A0A2327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6327" y="2422864"/>
            <a:ext cx="3813414" cy="64574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600" dirty="0"/>
              <a:t>Subtitle (EY Interstate 16 point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b="1" dirty="0"/>
              <a:t>XX Month 200X (EY Interstate bold 16 point)</a:t>
            </a:r>
            <a:endParaRPr lang="en-GB" sz="1600" dirty="0"/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403A0AAB-2D99-480E-8BCB-0300B2E4CA7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88" y="5340350"/>
            <a:ext cx="987425" cy="1157288"/>
            <a:chOff x="4857" y="3364"/>
            <a:chExt cx="622" cy="729"/>
          </a:xfrm>
        </p:grpSpPr>
        <p:sp>
          <p:nvSpPr>
            <p:cNvPr id="6" name="AutoShape 3">
              <a:extLst>
                <a:ext uri="{FF2B5EF4-FFF2-40B4-BE49-F238E27FC236}">
                  <a16:creationId xmlns:a16="http://schemas.microsoft.com/office/drawing/2014/main" id="{136D971F-E278-4FE8-BAE4-2AD4D04270F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1954568E-D3F2-4EA1-8901-CBA2FF03DD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E19C9D94-B5B9-4323-A444-83000773662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tx1"/>
                </a:solidFill>
              </a:endParaRPr>
            </a:p>
          </p:txBody>
        </p:sp>
      </p:grp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14F1DE27-AD0C-4A9A-9D8D-4F823ECEAD7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6306" y="5914642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5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4318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/>
        </p:nvCxnSpPr>
        <p:spPr>
          <a:xfrm>
            <a:off x="999368" y="5709060"/>
            <a:ext cx="6088405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/>
        </p:nvSpPr>
        <p:spPr>
          <a:xfrm>
            <a:off x="346308" y="5605201"/>
            <a:ext cx="783397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9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6308" y="6019189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6308" y="6216807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8" name="Freeform 5">
            <a:extLst>
              <a:ext uri="{FF2B5EF4-FFF2-40B4-BE49-F238E27FC236}">
                <a16:creationId xmlns:a16="http://schemas.microsoft.com/office/drawing/2014/main" id="{160A7550-5D67-4923-A7BC-21E832215440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70054" y="457199"/>
            <a:ext cx="4507059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D57A982A-5252-472B-BD55-97D51532138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6326" y="1476597"/>
            <a:ext cx="3813414" cy="860400"/>
          </a:xfrm>
        </p:spPr>
        <p:txBody>
          <a:bodyPr/>
          <a:lstStyle>
            <a:lvl1pPr>
              <a:defRPr sz="3000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 dirty="0"/>
              <a:t>Title (EY Interstate </a:t>
            </a:r>
            <a:r>
              <a:rPr lang="en-GB"/>
              <a:t>Light 30 </a:t>
            </a:r>
            <a:r>
              <a:rPr lang="en-GB" dirty="0"/>
              <a:t>point)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F809C9F7-7674-4F00-8A7B-4EBDB5F94FB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6327" y="2422864"/>
            <a:ext cx="3813414" cy="64574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600" dirty="0"/>
              <a:t>Subtitle (EY Interstate 16 point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b="1" dirty="0"/>
              <a:t>XX Month 200X (EY Interstate bold 16 point)</a:t>
            </a:r>
            <a:endParaRPr lang="en-GB" sz="1600" dirty="0"/>
          </a:p>
        </p:txBody>
      </p:sp>
      <p:grpSp>
        <p:nvGrpSpPr>
          <p:cNvPr id="22" name="Group 4">
            <a:extLst>
              <a:ext uri="{FF2B5EF4-FFF2-40B4-BE49-F238E27FC236}">
                <a16:creationId xmlns:a16="http://schemas.microsoft.com/office/drawing/2014/main" id="{2FBA4DFB-2D74-4887-91FA-9FE36EADD25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88" y="5340350"/>
            <a:ext cx="987425" cy="1157288"/>
            <a:chOff x="4857" y="3364"/>
            <a:chExt cx="622" cy="729"/>
          </a:xfrm>
        </p:grpSpPr>
        <p:sp>
          <p:nvSpPr>
            <p:cNvPr id="23" name="AutoShape 3">
              <a:extLst>
                <a:ext uri="{FF2B5EF4-FFF2-40B4-BE49-F238E27FC236}">
                  <a16:creationId xmlns:a16="http://schemas.microsoft.com/office/drawing/2014/main" id="{B223B0E3-13DC-4092-840F-C19C33D0170D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720F86E7-783D-48A5-9A99-BBE51AD8BB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8EA618E4-F6E6-47C9-85C3-E1EF97EB6DF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7125179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5">
            <a:extLst>
              <a:ext uri="{FF2B5EF4-FFF2-40B4-BE49-F238E27FC236}">
                <a16:creationId xmlns:a16="http://schemas.microsoft.com/office/drawing/2014/main" id="{770C05D4-D8C4-4691-89DC-120E06C0A0E8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70054" y="457199"/>
            <a:ext cx="4507059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750119" y="1677507"/>
            <a:ext cx="3957735" cy="860400"/>
          </a:xfrm>
        </p:spPr>
        <p:txBody>
          <a:bodyPr/>
          <a:lstStyle>
            <a:lvl1pPr>
              <a:defRPr sz="3000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 dirty="0"/>
              <a:t>Title (EY Interstate </a:t>
            </a:r>
            <a:r>
              <a:rPr lang="en-GB"/>
              <a:t>Light 30 </a:t>
            </a:r>
            <a:r>
              <a:rPr lang="en-GB" dirty="0"/>
              <a:t>point)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50119" y="2685128"/>
            <a:ext cx="3957735" cy="64574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600" dirty="0"/>
              <a:t>Subtitle (EY Interstate 16 point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GB" dirty="0">
                <a:latin typeface="EYInterstate" panose="02000503020000020004" pitchFamily="2" charset="0"/>
              </a:rPr>
              <a:t>XX Month 200X (EY Interstate bold 16 point)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77AB755-0634-43A3-B427-C896D8448ABA}"/>
              </a:ext>
            </a:extLst>
          </p:cNvPr>
          <p:cNvCxnSpPr>
            <a:cxnSpLocks/>
          </p:cNvCxnSpPr>
          <p:nvPr userDrawn="1"/>
        </p:nvCxnSpPr>
        <p:spPr>
          <a:xfrm>
            <a:off x="1333184" y="5691442"/>
            <a:ext cx="5669280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5246095A-D7CE-45C6-8BF9-B5543F78C034}"/>
              </a:ext>
            </a:extLst>
          </p:cNvPr>
          <p:cNvSpPr txBox="1"/>
          <p:nvPr userDrawn="1"/>
        </p:nvSpPr>
        <p:spPr>
          <a:xfrm>
            <a:off x="461984" y="5587582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9D785C9C-C30C-4D97-AE69-8F7DD8E35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184" y="6001571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  <a:latin typeface="EYInterstate Light" panose="02000506000000020004" pitchFamily="2" charset="0"/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E9ED2CF-644F-4B9E-820F-6BF4B84D684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184" y="6199189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rgbClr val="FFD200"/>
                </a:solidFill>
                <a:latin typeface="EYInterstate Light" panose="02000506000000020004" pitchFamily="2" charset="0"/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9" name="Picture Placeholder 19">
            <a:extLst>
              <a:ext uri="{FF2B5EF4-FFF2-40B4-BE49-F238E27FC236}">
                <a16:creationId xmlns:a16="http://schemas.microsoft.com/office/drawing/2014/main" id="{220D652C-43A8-4888-A086-F26EAFCF8D7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983" y="5897024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  <a:latin typeface="EYInterstate Light" panose="02000506000000020004" pitchFamily="2" charset="0"/>
              </a:defRPr>
            </a:lvl1pPr>
          </a:lstStyle>
          <a:p>
            <a:endParaRPr lang="en-GB" dirty="0"/>
          </a:p>
        </p:txBody>
      </p:sp>
      <p:grpSp>
        <p:nvGrpSpPr>
          <p:cNvPr id="20" name="Group 4">
            <a:extLst>
              <a:ext uri="{FF2B5EF4-FFF2-40B4-BE49-F238E27FC236}">
                <a16:creationId xmlns:a16="http://schemas.microsoft.com/office/drawing/2014/main" id="{2FBA4DFB-2D74-4887-91FA-9FE36EADD25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88" y="5340350"/>
            <a:ext cx="987425" cy="1157288"/>
            <a:chOff x="4857" y="3364"/>
            <a:chExt cx="622" cy="729"/>
          </a:xfrm>
        </p:grpSpPr>
        <p:sp>
          <p:nvSpPr>
            <p:cNvPr id="21" name="AutoShape 3">
              <a:extLst>
                <a:ext uri="{FF2B5EF4-FFF2-40B4-BE49-F238E27FC236}">
                  <a16:creationId xmlns:a16="http://schemas.microsoft.com/office/drawing/2014/main" id="{B223B0E3-13DC-4092-840F-C19C33D0170D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720F86E7-783D-48A5-9A99-BBE51AD8BB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8EA618E4-F6E6-47C9-85C3-E1EF97EB6DF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3695701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Picture 118">
            <a:extLst>
              <a:ext uri="{FF2B5EF4-FFF2-40B4-BE49-F238E27FC236}">
                <a16:creationId xmlns:a16="http://schemas.microsoft.com/office/drawing/2014/main" id="{EAA736A0-D2E9-4CA1-BF9F-5E33CF39B8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457200"/>
            <a:ext cx="4654295" cy="3930900"/>
          </a:xfrm>
          <a:prstGeom prst="rect">
            <a:avLst/>
          </a:prstGeom>
        </p:spPr>
      </p:pic>
      <p:grpSp>
        <p:nvGrpSpPr>
          <p:cNvPr id="79" name="Group 4">
            <a:extLst>
              <a:ext uri="{FF2B5EF4-FFF2-40B4-BE49-F238E27FC236}">
                <a16:creationId xmlns:a16="http://schemas.microsoft.com/office/drawing/2014/main" id="{A159D8C9-C19B-4DF7-9C5A-22EDB8A5FB9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88" y="5340350"/>
            <a:ext cx="987425" cy="1157288"/>
            <a:chOff x="4857" y="3364"/>
            <a:chExt cx="622" cy="729"/>
          </a:xfrm>
        </p:grpSpPr>
        <p:sp>
          <p:nvSpPr>
            <p:cNvPr id="80" name="AutoShape 3">
              <a:extLst>
                <a:ext uri="{FF2B5EF4-FFF2-40B4-BE49-F238E27FC236}">
                  <a16:creationId xmlns:a16="http://schemas.microsoft.com/office/drawing/2014/main" id="{D95FB310-FD8D-4315-8C3A-8966DC1515AB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1" name="Freeform 5">
              <a:extLst>
                <a:ext uri="{FF2B5EF4-FFF2-40B4-BE49-F238E27FC236}">
                  <a16:creationId xmlns:a16="http://schemas.microsoft.com/office/drawing/2014/main" id="{B0F72F2B-2B88-4D56-A5C3-5C83787BA0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2" name="Freeform 6">
              <a:extLst>
                <a:ext uri="{FF2B5EF4-FFF2-40B4-BE49-F238E27FC236}">
                  <a16:creationId xmlns:a16="http://schemas.microsoft.com/office/drawing/2014/main" id="{900DB62A-8F2A-4742-9C40-2FC7AA18235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pic>
        <p:nvPicPr>
          <p:cNvPr id="83" name="Picture 82">
            <a:extLst>
              <a:ext uri="{FF2B5EF4-FFF2-40B4-BE49-F238E27FC236}">
                <a16:creationId xmlns:a16="http://schemas.microsoft.com/office/drawing/2014/main" id="{23B9FB7E-B586-4378-AE43-0A9B9CA0B98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5914517"/>
            <a:ext cx="3780000" cy="618750"/>
          </a:xfrm>
          <a:prstGeom prst="rect">
            <a:avLst/>
          </a:prstGeom>
        </p:spPr>
      </p:pic>
      <p:sp>
        <p:nvSpPr>
          <p:cNvPr id="124" name="Subtitle 2">
            <a:extLst>
              <a:ext uri="{FF2B5EF4-FFF2-40B4-BE49-F238E27FC236}">
                <a16:creationId xmlns:a16="http://schemas.microsoft.com/office/drawing/2014/main" id="{DE813F69-7E98-49B9-A563-B5D224235BE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8191" y="2825612"/>
            <a:ext cx="3612689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FFFFFF"/>
                </a:solidFill>
              </a:defRPr>
            </a:lvl2pPr>
            <a:lvl3pPr marL="0" indent="0" algn="l">
              <a:buNone/>
              <a:defRPr sz="1600">
                <a:solidFill>
                  <a:srgbClr val="FFFFFF"/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25" name="Title 1">
            <a:extLst>
              <a:ext uri="{FF2B5EF4-FFF2-40B4-BE49-F238E27FC236}">
                <a16:creationId xmlns:a16="http://schemas.microsoft.com/office/drawing/2014/main" id="{6135F81D-3120-4669-8305-5AB7CAA0504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88191" y="1855166"/>
            <a:ext cx="3612689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58673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5" name="Group 4">
            <a:extLst>
              <a:ext uri="{FF2B5EF4-FFF2-40B4-BE49-F238E27FC236}">
                <a16:creationId xmlns:a16="http://schemas.microsoft.com/office/drawing/2014/main" id="{916D9572-5294-4C0A-83C4-99E45F89495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88" y="5340350"/>
            <a:ext cx="987425" cy="1157288"/>
            <a:chOff x="4857" y="3364"/>
            <a:chExt cx="622" cy="729"/>
          </a:xfrm>
        </p:grpSpPr>
        <p:sp>
          <p:nvSpPr>
            <p:cNvPr id="86" name="AutoShape 3">
              <a:extLst>
                <a:ext uri="{FF2B5EF4-FFF2-40B4-BE49-F238E27FC236}">
                  <a16:creationId xmlns:a16="http://schemas.microsoft.com/office/drawing/2014/main" id="{5667BEF9-3DFA-4239-A852-71BA27EC8E18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7" name="Freeform 5">
              <a:extLst>
                <a:ext uri="{FF2B5EF4-FFF2-40B4-BE49-F238E27FC236}">
                  <a16:creationId xmlns:a16="http://schemas.microsoft.com/office/drawing/2014/main" id="{7E85CBCB-BA9A-4374-A431-F4DC5F8079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8" name="Freeform 6">
              <a:extLst>
                <a:ext uri="{FF2B5EF4-FFF2-40B4-BE49-F238E27FC236}">
                  <a16:creationId xmlns:a16="http://schemas.microsoft.com/office/drawing/2014/main" id="{5C0EF3BA-6104-4E1B-9F18-E642314A9A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pic>
        <p:nvPicPr>
          <p:cNvPr id="89" name="Picture 88">
            <a:extLst>
              <a:ext uri="{FF2B5EF4-FFF2-40B4-BE49-F238E27FC236}">
                <a16:creationId xmlns:a16="http://schemas.microsoft.com/office/drawing/2014/main" id="{BEA87971-BB0B-4ED2-8AC3-71D5B1159A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777240"/>
            <a:ext cx="6753225" cy="3400425"/>
          </a:xfrm>
          <a:prstGeom prst="rect">
            <a:avLst/>
          </a:prstGeom>
        </p:spPr>
      </p:pic>
      <p:sp>
        <p:nvSpPr>
          <p:cNvPr id="90" name="Subtitle 2">
            <a:extLst>
              <a:ext uri="{FF2B5EF4-FFF2-40B4-BE49-F238E27FC236}">
                <a16:creationId xmlns:a16="http://schemas.microsoft.com/office/drawing/2014/main" id="{D57E11BD-E2D9-41B1-9EF5-FF1EA0B8EB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8191" y="3258529"/>
            <a:ext cx="5943432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FFFFFF"/>
                </a:solidFill>
              </a:defRPr>
            </a:lvl2pPr>
            <a:lvl3pPr marL="0" indent="0" algn="l">
              <a:buNone/>
              <a:defRPr sz="1600">
                <a:solidFill>
                  <a:srgbClr val="FFFFFF"/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91" name="Title 1">
            <a:extLst>
              <a:ext uri="{FF2B5EF4-FFF2-40B4-BE49-F238E27FC236}">
                <a16:creationId xmlns:a16="http://schemas.microsoft.com/office/drawing/2014/main" id="{9E850DE9-7D5E-499B-8FA1-4143F639E0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88191" y="2288083"/>
            <a:ext cx="5943432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92" name="Picture 91">
            <a:extLst>
              <a:ext uri="{FF2B5EF4-FFF2-40B4-BE49-F238E27FC236}">
                <a16:creationId xmlns:a16="http://schemas.microsoft.com/office/drawing/2014/main" id="{620AFF6A-D70F-482C-ACA4-D71330481F1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5914517"/>
            <a:ext cx="3780000" cy="61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24416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1137920"/>
            <a:ext cx="82296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8197805-0689-4503-8125-F783F931714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25076755-5687-4D7F-83D1-5A2141D8256F}" type="datetime3">
              <a:rPr lang="en-US" smtClean="0"/>
              <a:pPr/>
              <a:t>18 October 2021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180DED-A206-48B8-8395-C38D75067D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21560" y="6516456"/>
            <a:ext cx="3695465" cy="1800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Стимулирование развития золотодобывающей отрасли Казахстана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584CBDA-5400-4C9D-A814-1CE6E3FD4F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аница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32402597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A80CEA2-D107-4E43-B632-8CAB22A8CAC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4D67AF60-DF2C-4DD5-A075-8C89863EB287}" type="datetime3">
              <a:rPr lang="en-US" smtClean="0"/>
              <a:pPr/>
              <a:t>18 October 2021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3FCC4BD-E0C7-4008-8760-F505B7C870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>
                <a:solidFill>
                  <a:srgbClr val="2E2E38"/>
                </a:solidFill>
              </a:rPr>
              <a:t>Стимулирование развития золотодобывающей отрасли Казахстана</a:t>
            </a:r>
            <a:endParaRPr lang="ru-RU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3ED2ADF-C3C7-4D61-8B10-4ED75087C3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аница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61105742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_no_top_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A80CEA2-D107-4E43-B632-8CAB22A8CAC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4D67AF60-DF2C-4DD5-A075-8C89863EB287}" type="datetime3">
              <a:rPr lang="en-US" smtClean="0"/>
              <a:pPr/>
              <a:t>18 October 2021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3FCC4BD-E0C7-4008-8760-F505B7C870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>
                <a:solidFill>
                  <a:srgbClr val="2E2E38"/>
                </a:solidFill>
              </a:rPr>
              <a:t>Стимулирование развития золотодобывающей отрасли Казахстана</a:t>
            </a:r>
            <a:endParaRPr lang="ru-RU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3ED2ADF-C3C7-4D61-8B10-4ED75087C3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аница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86724053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46139" y="1"/>
            <a:ext cx="2997862" cy="615610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558041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1137921"/>
            <a:ext cx="5471882" cy="873760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57201" y="2311401"/>
            <a:ext cx="2683690" cy="3844704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3245392" y="2311402"/>
            <a:ext cx="2683690" cy="1254759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245392" y="4236721"/>
            <a:ext cx="2683690" cy="1944160"/>
          </a:xfrm>
        </p:spPr>
        <p:txBody>
          <a:bodyPr numCol="1"/>
          <a:lstStyle>
            <a:lvl1pPr marL="0" indent="0">
              <a:buNone/>
              <a:defRPr sz="134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5789875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031161-0EF0-4994-BAAC-817AFCD5564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21F5ABFD-4D88-46E2-86D0-8E726758F477}" type="datetime3">
              <a:rPr lang="en-US" smtClean="0"/>
              <a:pPr/>
              <a:t>18 October 2021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4A1A6EA-628B-40CB-AD7E-45CB0B91C2D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/>
              <a:t>Стимулирование развития золотодобывающей отрасли Казахстана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099134-47E0-4E77-855E-45C10B9B8B1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ru-RU" dirty="0"/>
              <a:t>Страница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78394169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787414" cy="685799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20418" y="294200"/>
            <a:ext cx="6665528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020417" y="1137921"/>
            <a:ext cx="2056091" cy="5018184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293076" y="1137921"/>
            <a:ext cx="2101787" cy="5018184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611431" y="1137922"/>
            <a:ext cx="2075369" cy="2796151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/>
        </p:nvSpPr>
        <p:spPr bwMode="auto">
          <a:xfrm>
            <a:off x="2020418" y="907750"/>
            <a:ext cx="6665528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E1076-97C0-41B2-AAE5-AD919BB2DC2E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82140DD7-24EE-4585-B854-30DE462353D6}" type="datetime3">
              <a:rPr lang="en-US" smtClean="0"/>
              <a:pPr/>
              <a:t>18 October 2021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A40DA20-3A42-4B9D-A853-92BEABFB15B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/>
              <a:t>Стимулирование развития золотодобывающей отрасли Казахстана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C6E24F-B7C3-43FD-BF17-E37070A300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ru-RU" dirty="0"/>
              <a:t>Страница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2102702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/>
        </p:nvCxnSpPr>
        <p:spPr>
          <a:xfrm>
            <a:off x="999368" y="5709060"/>
            <a:ext cx="6088405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/>
        </p:nvSpPr>
        <p:spPr>
          <a:xfrm>
            <a:off x="346308" y="5605201"/>
            <a:ext cx="783397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9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9368" y="6019189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99368" y="6216807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0F898568-1B78-454B-9FE7-9E37EEF85A89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70054" y="457199"/>
            <a:ext cx="4507059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C105A121-2DA3-4610-BC32-EBB7F8ABAFD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6326" y="1476597"/>
            <a:ext cx="3813414" cy="860400"/>
          </a:xfrm>
        </p:spPr>
        <p:txBody>
          <a:bodyPr/>
          <a:lstStyle>
            <a:lvl1pPr>
              <a:defRPr sz="3000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 dirty="0"/>
              <a:t>Title (EY Interstate </a:t>
            </a:r>
            <a:r>
              <a:rPr lang="en-GB"/>
              <a:t>Light 30 </a:t>
            </a:r>
            <a:r>
              <a:rPr lang="en-GB" dirty="0"/>
              <a:t>point)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61BB2EE4-E5D4-4DD9-97C5-CF16A0A2327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6327" y="2422864"/>
            <a:ext cx="3813414" cy="64574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600" dirty="0"/>
              <a:t>Subtitle (EY Interstate 16 point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b="1" dirty="0"/>
              <a:t>XX Month 200X (EY Interstate bold 16 point)</a:t>
            </a:r>
            <a:endParaRPr lang="en-GB" sz="1600" dirty="0"/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403A0AAB-2D99-480E-8BCB-0300B2E4CA7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88" y="5340350"/>
            <a:ext cx="987425" cy="1157288"/>
            <a:chOff x="4857" y="3364"/>
            <a:chExt cx="622" cy="729"/>
          </a:xfrm>
        </p:grpSpPr>
        <p:sp>
          <p:nvSpPr>
            <p:cNvPr id="6" name="AutoShape 3">
              <a:extLst>
                <a:ext uri="{FF2B5EF4-FFF2-40B4-BE49-F238E27FC236}">
                  <a16:creationId xmlns:a16="http://schemas.microsoft.com/office/drawing/2014/main" id="{136D971F-E278-4FE8-BAE4-2AD4D04270F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1954568E-D3F2-4EA1-8901-CBA2FF03DD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E19C9D94-B5B9-4323-A444-83000773662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tx1"/>
                </a:solidFill>
              </a:endParaRPr>
            </a:p>
          </p:txBody>
        </p:sp>
      </p:grp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14F1DE27-AD0C-4A9A-9D8D-4F823ECEAD7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6306" y="5914642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5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8739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1137920"/>
            <a:ext cx="6175841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95E81C-0962-435D-B7CC-E9E7007F1F8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16039ACA-DE51-4EBE-A0D1-6352F2D9BF3A}" type="datetime3">
              <a:rPr lang="en-US" smtClean="0"/>
              <a:pPr/>
              <a:t>18 October 2021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CDD1B3-89EC-47BA-A26E-D040220115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Стимулирование развития золотодобывающей отрасли Казахстана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9ACB01-FCA5-4FE1-B210-29952B46CA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аница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07751715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4463" y="2851522"/>
            <a:ext cx="3334113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699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9" marR="0" lvl="0" indent="-267319" defTabSz="75551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ACF31FF-92C4-4CFE-89C8-231A1B4903B6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2CFACC45-0700-46B3-A2A5-8EA5A5C07368}" type="datetime3">
              <a:rPr lang="en-US" smtClean="0"/>
              <a:pPr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B72E31-AECD-4259-BF90-99398FE128B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/>
              <a:t>Стимулирование развития золотодобывающей отрасли Казахстана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DE2F2A-9E13-4DC5-89FE-0719F2B171F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ru-RU" dirty="0"/>
              <a:t>Страница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39548914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4463" y="2851522"/>
            <a:ext cx="3334113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699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9" marR="0" lvl="0" indent="-267319" defTabSz="75551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B824A25-AAE3-42CE-906A-12D97307C1F3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4C5782BF-F78E-4C8B-BFDA-73D158B024C4}" type="datetime3">
              <a:rPr lang="en-US" smtClean="0"/>
              <a:pPr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DD7A84-5352-4432-83C2-4B3F3BD889A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/>
              <a:t>Стимулирование развития золотодобывающей отрасли Казахстана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5019A7-134D-49ED-8707-807B58B2E5D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ru-RU" dirty="0"/>
              <a:t>Страница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80310644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67954" y="0"/>
            <a:ext cx="4476046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7135" y="2578743"/>
            <a:ext cx="3401698" cy="1055708"/>
          </a:xfrm>
        </p:spPr>
        <p:txBody>
          <a:bodyPr/>
          <a:lstStyle>
            <a:lvl1pPr marL="0" indent="0">
              <a:buNone/>
              <a:defRPr sz="2249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77135" y="3840384"/>
            <a:ext cx="3401698" cy="1055708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IN" dirty="0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DA49F8-A774-4DD1-8745-65E01AB0472C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E6E457F2-A06A-4DF4-8FF2-B132707F3E39}" type="datetime3">
              <a:rPr lang="en-US" smtClean="0"/>
              <a:pPr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4C0F4CC-50C9-4C20-A16A-91535919DC9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/>
              <a:t>Стимулирование развития золотодобывающей отрасли Казахстана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53C557-8F9C-4613-8095-373D3EE8052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ru-RU" dirty="0"/>
              <a:t>Страница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2035347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457200" y="1137921"/>
            <a:ext cx="3716193" cy="4267457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41864" y="3813288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1864" y="4055931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89866" y="1137921"/>
            <a:ext cx="409693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89866" y="1635009"/>
            <a:ext cx="4096935" cy="1611554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US" dirty="0"/>
              <a:t>Content EY Interstate Light, 12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17" name="Picture Placeholder 19">
            <a:extLst>
              <a:ext uri="{FF2B5EF4-FFF2-40B4-BE49-F238E27FC236}">
                <a16:creationId xmlns:a16="http://schemas.microsoft.com/office/drawing/2014/main" id="{70E81591-07D5-438D-AAD4-4B9A889F448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589864" y="3578084"/>
            <a:ext cx="777600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5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B440ECC-CB43-49D3-ABF3-A5F4F308E7E2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C50D79EF-E63D-4EA1-82CF-CAE2A95C901A}" type="datetime3">
              <a:rPr lang="en-US" smtClean="0"/>
              <a:pPr/>
              <a:t>18 October 2021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4279E38-5A0D-4584-B4BB-113C1A4C50C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ru-RU"/>
              <a:t>Стимулирование развития золотодобывающей отрасли Казахстана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3F8B89-1ED7-4BD8-90B0-47F3DF32AD7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ru-RU" dirty="0"/>
              <a:t>Страница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08419600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4">
            <a:extLst>
              <a:ext uri="{FF2B5EF4-FFF2-40B4-BE49-F238E27FC236}">
                <a16:creationId xmlns:a16="http://schemas.microsoft.com/office/drawing/2014/main" id="{54B0064F-CA12-4F8F-B694-23C41AD0F16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284464" y="6327648"/>
            <a:ext cx="402336" cy="412867"/>
            <a:chOff x="7110" y="4004"/>
            <a:chExt cx="191" cy="196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F93F004B-02B9-4455-A020-115CFB37BE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19F4E2CA-BA89-47F8-8C68-7CACFBAF82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32993525-96BF-457D-86C8-A5E217C20B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6" name="Date Placeholder 2">
            <a:extLst>
              <a:ext uri="{FF2B5EF4-FFF2-40B4-BE49-F238E27FC236}">
                <a16:creationId xmlns:a16="http://schemas.microsoft.com/office/drawing/2014/main" id="{D8973D65-036E-4D65-AAA3-1427C4AA0C9B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20EB5FB-88DA-42E2-9902-BFAB9334E948}" type="datetime3">
              <a:rPr lang="en-US" smtClean="0"/>
              <a:pPr/>
              <a:t>18 October 2021</a:t>
            </a:fld>
            <a:endParaRPr lang="en-US" dirty="0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9711A3A-DB5C-4C5F-BF5A-7DBDD6EFF607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3321561" y="6516456"/>
            <a:ext cx="30861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/>
              <a:t>Стимулирование развития золотодобывающей отрасли Казахстана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40A4236-AC64-456A-B3F9-BED41065570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363093" y="6516456"/>
            <a:ext cx="663066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траница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91566358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F607F99-5C2B-4FC6-A3DF-23E011C842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4464" y="6327648"/>
            <a:ext cx="402504" cy="411480"/>
          </a:xfrm>
          <a:prstGeom prst="rect">
            <a:avLst/>
          </a:prstGeom>
        </p:spPr>
      </p:pic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8FBE9395-9BF1-4306-9F29-1F8E92C9F8DB}"/>
              </a:ext>
            </a:extLst>
          </p:cNvPr>
          <p:cNvSpPr txBox="1">
            <a:spLocks/>
          </p:cNvSpPr>
          <p:nvPr userDrawn="1"/>
        </p:nvSpPr>
        <p:spPr>
          <a:xfrm>
            <a:off x="3757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200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87DD12F9-AC78-4784-A2C0-5FB6EC5A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1750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3BB2527F-4DCE-4CB5-A96D-2E432FD5A07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1750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Name Surnam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7DFFB3C-E689-440E-8EDB-465853B3460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1750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Job Title</a:t>
            </a:r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09667CEE-F273-4416-9D45-A0E825F14911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284464" y="6327648"/>
            <a:ext cx="402336" cy="412867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3F5A26-EE33-4654-ACA2-880B36B275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325D6EF1-9951-4386-9E98-24FDBF5827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572CC147-C47E-4B17-9D76-D39D3C36CE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3868074453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BD7B1EAA-D62E-426F-9D29-F674CEB29C3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26000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 algn="ctr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C43D8C34-69FC-4DEE-BC95-D2F629475EB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26000" y="551683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78FCBB-C01D-4FF8-828E-0E27552CA9C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926000" y="582887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Job Titl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0AD41D48-C813-4F78-A2C8-0758D2B7DC18}"/>
              </a:ext>
            </a:extLst>
          </p:cNvPr>
          <p:cNvSpPr txBox="1">
            <a:spLocks/>
          </p:cNvSpPr>
          <p:nvPr userDrawn="1"/>
        </p:nvSpPr>
        <p:spPr>
          <a:xfrm>
            <a:off x="3402806" y="979787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200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FF60CB08-2DD7-4911-8D80-BCAC7944540B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284464" y="6327648"/>
            <a:ext cx="402336" cy="412867"/>
            <a:chOff x="7110" y="4004"/>
            <a:chExt cx="191" cy="196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C7E6D8E8-E311-4EB7-AFAA-50963EA7B1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53EFA7D4-C8AD-4C58-A0EE-C2B700393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E459CDB2-C2F0-4E1A-AC90-F93C856AA5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2928031316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1137920"/>
            <a:ext cx="6175841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67319">
              <a:defRPr>
                <a:solidFill>
                  <a:schemeClr val="bg1"/>
                </a:solidFill>
              </a:defRPr>
            </a:lvl2pPr>
            <a:lvl3pPr marL="534639">
              <a:defRPr>
                <a:solidFill>
                  <a:schemeClr val="bg1"/>
                </a:solidFill>
              </a:defRPr>
            </a:lvl3pPr>
            <a:lvl4pPr marL="801958">
              <a:defRPr>
                <a:solidFill>
                  <a:schemeClr val="bg1"/>
                </a:solidFill>
              </a:defRPr>
            </a:lvl4pPr>
            <a:lvl5pPr marL="1069277"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BF0A34-C36D-461B-A015-21A5DA63B59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B8888596-508F-462B-B8B6-8FA53F52D1AD}" type="datetime3">
              <a:rPr lang="en-US" smtClean="0"/>
              <a:pPr/>
              <a:t>18 October 2021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ECF0E1-C505-48F8-AD92-7D8685FF48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Стимулирование развития золотодобывающей отрасли Казахстана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682A11-B39D-4FE0-A53D-0F1661DE05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аница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64577270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03DAEA1-6A90-4FC2-97C7-E8CE0391435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D9D13043-761F-484F-A1D9-D4AB681B3B46}" type="datetime3">
              <a:rPr lang="en-US" smtClean="0"/>
              <a:pPr/>
              <a:t>18 October 2021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B819100-2154-4CEF-A4AE-869A873311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Стимулирование развития золотодобывающей отрасли Казахстана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B93803-CB8A-4830-8E96-5C407868A0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аница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729258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/>
        </p:nvCxnSpPr>
        <p:spPr>
          <a:xfrm>
            <a:off x="999368" y="5709060"/>
            <a:ext cx="6088405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/>
        </p:nvSpPr>
        <p:spPr>
          <a:xfrm>
            <a:off x="346308" y="5605201"/>
            <a:ext cx="783397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9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6308" y="6019189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6308" y="6216807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8" name="Freeform 5">
            <a:extLst>
              <a:ext uri="{FF2B5EF4-FFF2-40B4-BE49-F238E27FC236}">
                <a16:creationId xmlns:a16="http://schemas.microsoft.com/office/drawing/2014/main" id="{160A7550-5D67-4923-A7BC-21E832215440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70054" y="457199"/>
            <a:ext cx="4507059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D57A982A-5252-472B-BD55-97D51532138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6326" y="1476597"/>
            <a:ext cx="3813414" cy="860400"/>
          </a:xfrm>
        </p:spPr>
        <p:txBody>
          <a:bodyPr/>
          <a:lstStyle>
            <a:lvl1pPr>
              <a:defRPr sz="3000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 dirty="0"/>
              <a:t>Title (EY Interstate </a:t>
            </a:r>
            <a:r>
              <a:rPr lang="en-GB"/>
              <a:t>Light 30 </a:t>
            </a:r>
            <a:r>
              <a:rPr lang="en-GB" dirty="0"/>
              <a:t>point)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F809C9F7-7674-4F00-8A7B-4EBDB5F94FB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6327" y="2422864"/>
            <a:ext cx="3813414" cy="64574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600" dirty="0"/>
              <a:t>Subtitle (EY Interstate 16 point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b="1" dirty="0"/>
              <a:t>XX Month 200X (EY Interstate bold 16 point)</a:t>
            </a:r>
            <a:endParaRPr lang="en-GB" sz="1600" dirty="0"/>
          </a:p>
        </p:txBody>
      </p:sp>
      <p:grpSp>
        <p:nvGrpSpPr>
          <p:cNvPr id="22" name="Group 4">
            <a:extLst>
              <a:ext uri="{FF2B5EF4-FFF2-40B4-BE49-F238E27FC236}">
                <a16:creationId xmlns:a16="http://schemas.microsoft.com/office/drawing/2014/main" id="{2FBA4DFB-2D74-4887-91FA-9FE36EADD25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88" y="5340350"/>
            <a:ext cx="987425" cy="1157288"/>
            <a:chOff x="4857" y="3364"/>
            <a:chExt cx="622" cy="729"/>
          </a:xfrm>
        </p:grpSpPr>
        <p:sp>
          <p:nvSpPr>
            <p:cNvPr id="23" name="AutoShape 3">
              <a:extLst>
                <a:ext uri="{FF2B5EF4-FFF2-40B4-BE49-F238E27FC236}">
                  <a16:creationId xmlns:a16="http://schemas.microsoft.com/office/drawing/2014/main" id="{B223B0E3-13DC-4092-840F-C19C33D0170D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720F86E7-783D-48A5-9A99-BBE51AD8BB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8EA618E4-F6E6-47C9-85C3-E1EF97EB6DF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3660086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1" y="1137919"/>
            <a:ext cx="4038600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1" y="1137919"/>
            <a:ext cx="4038600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E1BDE01-7D08-4922-9259-4581BC33C3E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A407A766-6744-4FCF-AEA2-FA6B5CA7ADFF}" type="datetime3">
              <a:rPr lang="en-US" smtClean="0"/>
              <a:pPr/>
              <a:t>18 October 2021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29C6724-47E1-45B5-B455-099BFD53BB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Стимулирование развития золотодобывающей отрасли Казахстана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8340A57-5875-43E6-BEEA-8CEBCDCA30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аница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74255400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9247" y="1869441"/>
            <a:ext cx="4042800" cy="4256075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7304" y="1869441"/>
            <a:ext cx="4042800" cy="4256075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1" y="1137920"/>
            <a:ext cx="40428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47304" y="1137920"/>
            <a:ext cx="40428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FCA5F9A-0842-4BED-A447-9C3F6915DCDD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16D3C7FA-0034-41F1-8F3D-82A19802CA0B}" type="datetime3">
              <a:rPr lang="en-US" smtClean="0"/>
              <a:pPr/>
              <a:t>18 October 2021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8AD82-A588-4EFB-A956-62AC671AB8A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/>
              <a:t>Стимулирование развития золотодобывающей отрасли Казахстана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F77DB56-43F3-4932-8420-FA767EBAB47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ru-RU" dirty="0"/>
              <a:t>Страница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0806441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B7547C-9236-44B2-927D-EE1C7DF06D3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E7E48C62-EF70-4649-BEE5-7088B7A72173}" type="datetime3">
              <a:rPr lang="en-US" smtClean="0"/>
              <a:pPr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E2AC0F-F4F4-46F1-8E38-470CA2132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Стимулирование развития золотодобывающей отрасли Казахстана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B301A4-CE65-4914-B017-DED28C2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аница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63909682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3A9D79-13D5-4189-B325-32C1E30071D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BFF38A36-9DCC-476A-8342-5844FA866458}" type="datetime3">
              <a:rPr lang="en-US" smtClean="0"/>
              <a:pPr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690CD3-106E-4E37-A338-7D12BDB87E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Стимулирование развития золотодобывающей отрасли Казахстана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97AA2E-8C14-46B6-80A1-837B7775D6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аница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07352846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813CB0-F911-4F63-ADF4-31E748E46E9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400D4070-0F17-4C2D-8110-266E478443EB}" type="datetime3">
              <a:rPr lang="en-US" smtClean="0"/>
              <a:pPr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E00D68-E42E-4E18-97BC-09F3CC3C71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Стимулирование развития золотодобывающей отрасли Казахстана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09C18C-4659-4936-9B48-47D9169929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аница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535575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1F7CA26-2B7B-4622-93A8-93EC10CCBE9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47904799-D735-4440-A19F-2F01569ACB38}" type="datetime3">
              <a:rPr lang="en-US" smtClean="0"/>
              <a:pPr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0E24E25-AADE-42B5-BB07-A8C5FC7FBF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Стимулирование развития золотодобывающей отрасли Казахстана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9B93A4-EF49-4605-8E7D-22AB1304F1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аница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A3678118-FB9F-46C1-A6F2-3E42EC5536B0}"/>
              </a:ext>
            </a:extLst>
          </p:cNvPr>
          <p:cNvSpPr>
            <a:spLocks/>
          </p:cNvSpPr>
          <p:nvPr userDrawn="1"/>
        </p:nvSpPr>
        <p:spPr bwMode="gray">
          <a:xfrm>
            <a:off x="457200" y="1039815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6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1D46014-541B-4C37-8BD9-33F3A3BE76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82189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58AD78-6C49-405F-80BD-8F5F9CFAD79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CEC94C50-DA7E-44E6-97D6-418D86EB1BE6}" type="datetime3">
              <a:rPr lang="en-US" smtClean="0"/>
              <a:pPr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A3A6C55-F277-42AF-8500-E16F039B9A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Стимулирование развития золотодобывающей отрасли Казахстана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368E36-B58F-4FD6-B92E-04754A1D83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аница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95370093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9144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E480A10-F3A8-4482-9A96-E4A2985059D6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BD570656-E1C8-4CDF-8448-CAC404D99B8E}" type="datetime3">
              <a:rPr lang="en-US" smtClean="0"/>
              <a:pPr/>
              <a:t>18 October 2021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D942338-84D5-44C7-ADEC-04C9C56CF23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/>
              <a:t>Стимулирование развития золотодобывающей отрасли Казахстана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AC4917-7B6B-475D-AAE6-8F714438F25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ru-RU" dirty="0"/>
              <a:t>Страница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23140838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719139"/>
            <a:ext cx="3506400" cy="5210062"/>
          </a:xfrm>
        </p:spPr>
        <p:txBody>
          <a:bodyPr/>
          <a:lstStyle>
            <a:lvl1pPr marL="0" indent="0" algn="l" defTabSz="746124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9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32089" indent="-13208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41609" indent="-14160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55547144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5387385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5">
            <a:extLst>
              <a:ext uri="{FF2B5EF4-FFF2-40B4-BE49-F238E27FC236}">
                <a16:creationId xmlns:a16="http://schemas.microsoft.com/office/drawing/2014/main" id="{770C05D4-D8C4-4691-89DC-120E06C0A0E8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70054" y="457199"/>
            <a:ext cx="4507059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750119" y="1677507"/>
            <a:ext cx="3957735" cy="860400"/>
          </a:xfrm>
        </p:spPr>
        <p:txBody>
          <a:bodyPr/>
          <a:lstStyle>
            <a:lvl1pPr>
              <a:defRPr sz="3000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 dirty="0"/>
              <a:t>Title (EY Interstate </a:t>
            </a:r>
            <a:r>
              <a:rPr lang="en-GB"/>
              <a:t>Light 30 </a:t>
            </a:r>
            <a:r>
              <a:rPr lang="en-GB" dirty="0"/>
              <a:t>point)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50119" y="2685128"/>
            <a:ext cx="3957735" cy="64574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600" dirty="0"/>
              <a:t>Subtitle (EY Interstate 16 point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GB" dirty="0">
                <a:latin typeface="EYInterstate" panose="02000503020000020004" pitchFamily="2" charset="0"/>
              </a:rPr>
              <a:t>XX Month 200X (EY Interstate bold 16 point)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77AB755-0634-43A3-B427-C896D8448ABA}"/>
              </a:ext>
            </a:extLst>
          </p:cNvPr>
          <p:cNvCxnSpPr>
            <a:cxnSpLocks/>
          </p:cNvCxnSpPr>
          <p:nvPr userDrawn="1"/>
        </p:nvCxnSpPr>
        <p:spPr>
          <a:xfrm>
            <a:off x="1333184" y="5691442"/>
            <a:ext cx="5669280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5246095A-D7CE-45C6-8BF9-B5543F78C034}"/>
              </a:ext>
            </a:extLst>
          </p:cNvPr>
          <p:cNvSpPr txBox="1"/>
          <p:nvPr userDrawn="1"/>
        </p:nvSpPr>
        <p:spPr>
          <a:xfrm>
            <a:off x="461984" y="5587582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9D785C9C-C30C-4D97-AE69-8F7DD8E35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184" y="6001571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  <a:latin typeface="EYInterstate Light" panose="02000506000000020004" pitchFamily="2" charset="0"/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E9ED2CF-644F-4B9E-820F-6BF4B84D684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184" y="6199189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rgbClr val="FFD200"/>
                </a:solidFill>
                <a:latin typeface="EYInterstate Light" panose="02000506000000020004" pitchFamily="2" charset="0"/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9" name="Picture Placeholder 19">
            <a:extLst>
              <a:ext uri="{FF2B5EF4-FFF2-40B4-BE49-F238E27FC236}">
                <a16:creationId xmlns:a16="http://schemas.microsoft.com/office/drawing/2014/main" id="{220D652C-43A8-4888-A086-F26EAFCF8D7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983" y="5897024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  <a:latin typeface="EYInterstate Light" panose="02000506000000020004" pitchFamily="2" charset="0"/>
              </a:defRPr>
            </a:lvl1pPr>
          </a:lstStyle>
          <a:p>
            <a:endParaRPr lang="en-GB" dirty="0"/>
          </a:p>
        </p:txBody>
      </p:sp>
      <p:grpSp>
        <p:nvGrpSpPr>
          <p:cNvPr id="20" name="Group 4">
            <a:extLst>
              <a:ext uri="{FF2B5EF4-FFF2-40B4-BE49-F238E27FC236}">
                <a16:creationId xmlns:a16="http://schemas.microsoft.com/office/drawing/2014/main" id="{2FBA4DFB-2D74-4887-91FA-9FE36EADD25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88" y="5340350"/>
            <a:ext cx="987425" cy="1157288"/>
            <a:chOff x="4857" y="3364"/>
            <a:chExt cx="622" cy="729"/>
          </a:xfrm>
        </p:grpSpPr>
        <p:sp>
          <p:nvSpPr>
            <p:cNvPr id="21" name="AutoShape 3">
              <a:extLst>
                <a:ext uri="{FF2B5EF4-FFF2-40B4-BE49-F238E27FC236}">
                  <a16:creationId xmlns:a16="http://schemas.microsoft.com/office/drawing/2014/main" id="{B223B0E3-13DC-4092-840F-C19C33D0170D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720F86E7-783D-48A5-9A99-BBE51AD8BB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8EA618E4-F6E6-47C9-85C3-E1EF97EB6DF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32621798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67954" y="0"/>
            <a:ext cx="4476046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1936" y="2050889"/>
            <a:ext cx="3401698" cy="1055708"/>
          </a:xfrm>
        </p:spPr>
        <p:txBody>
          <a:bodyPr/>
          <a:lstStyle>
            <a:lvl1pPr marL="0" indent="0">
              <a:buNone/>
              <a:defRPr sz="2249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1936" y="3312530"/>
            <a:ext cx="3401698" cy="1055708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IN" dirty="0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E59B594-94BE-43F4-8A51-56A02D3520A9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326F081B-0F29-4C91-AB63-D29E92BD23E9}" type="datetime3">
              <a:rPr lang="en-US" smtClean="0"/>
              <a:pPr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3D76FF3-5668-471F-96BC-86222958B48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/>
              <a:t>Стимулирование развития золотодобывающей отрасли Казахстана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C144E7-F1A6-43D5-9337-069D87B113F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ru-RU" dirty="0"/>
              <a:t>Страница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98948317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064" y="2504281"/>
            <a:ext cx="3334113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6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9" marR="0" lvl="0" indent="-267319" defTabSz="75551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42413CE-C4D0-4ABD-A496-80941F07BDB0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A5597E02-1EF9-4373-B932-BB6E596D0008}" type="datetime3">
              <a:rPr lang="en-US" smtClean="0"/>
              <a:pPr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6AF2A22-94A3-41BF-9F87-44E3FEF33B4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/>
              <a:t>Стимулирование развития золотодобывающей отрасли Казахстана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5C79A1-12F2-4F8B-A8F3-F46D58F4CB3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ru-RU" dirty="0"/>
              <a:t>Страница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66839868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787414" cy="6857999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20418" y="294200"/>
            <a:ext cx="6665528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020417" y="1137921"/>
            <a:ext cx="2056091" cy="5018184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293076" y="1137921"/>
            <a:ext cx="2101787" cy="5018184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6611431" y="1137922"/>
            <a:ext cx="2075369" cy="2796151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7" name="Line 10">
            <a:extLst>
              <a:ext uri="{FF2B5EF4-FFF2-40B4-BE49-F238E27FC236}">
                <a16:creationId xmlns:a16="http://schemas.microsoft.com/office/drawing/2014/main" id="{1FE654FB-261F-44E5-8EF9-237DB835D71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023353" y="907750"/>
            <a:ext cx="669263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3AD698-0E41-4FCF-AB31-51B8D1AE402F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86AC4EAF-3411-4527-A4CA-E794DD2CD631}" type="datetime3">
              <a:rPr lang="en-US" smtClean="0"/>
              <a:pPr/>
              <a:t>18 October 2021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9018413-4A60-4C02-9E4A-E0257623113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/>
              <a:t>Стимулирование развития золотодобывающей отрасли Казахстана</a:t>
            </a:r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74983C1-0EF4-4B2C-97F2-6888EAEE5D8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457201" y="6516456"/>
            <a:ext cx="663066" cy="180000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Страница</a:t>
            </a:r>
            <a:r>
              <a:rPr lang="en-GB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3072584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Picture 118">
            <a:extLst>
              <a:ext uri="{FF2B5EF4-FFF2-40B4-BE49-F238E27FC236}">
                <a16:creationId xmlns:a16="http://schemas.microsoft.com/office/drawing/2014/main" id="{EAA736A0-D2E9-4CA1-BF9F-5E33CF39B8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457200"/>
            <a:ext cx="4654295" cy="3930900"/>
          </a:xfrm>
          <a:prstGeom prst="rect">
            <a:avLst/>
          </a:prstGeom>
        </p:spPr>
      </p:pic>
      <p:grpSp>
        <p:nvGrpSpPr>
          <p:cNvPr id="79" name="Group 4">
            <a:extLst>
              <a:ext uri="{FF2B5EF4-FFF2-40B4-BE49-F238E27FC236}">
                <a16:creationId xmlns:a16="http://schemas.microsoft.com/office/drawing/2014/main" id="{A159D8C9-C19B-4DF7-9C5A-22EDB8A5FB9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88" y="5340350"/>
            <a:ext cx="987425" cy="1157288"/>
            <a:chOff x="4857" y="3364"/>
            <a:chExt cx="622" cy="729"/>
          </a:xfrm>
        </p:grpSpPr>
        <p:sp>
          <p:nvSpPr>
            <p:cNvPr id="80" name="AutoShape 3">
              <a:extLst>
                <a:ext uri="{FF2B5EF4-FFF2-40B4-BE49-F238E27FC236}">
                  <a16:creationId xmlns:a16="http://schemas.microsoft.com/office/drawing/2014/main" id="{D95FB310-FD8D-4315-8C3A-8966DC1515AB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1" name="Freeform 5">
              <a:extLst>
                <a:ext uri="{FF2B5EF4-FFF2-40B4-BE49-F238E27FC236}">
                  <a16:creationId xmlns:a16="http://schemas.microsoft.com/office/drawing/2014/main" id="{B0F72F2B-2B88-4D56-A5C3-5C83787BA0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2" name="Freeform 6">
              <a:extLst>
                <a:ext uri="{FF2B5EF4-FFF2-40B4-BE49-F238E27FC236}">
                  <a16:creationId xmlns:a16="http://schemas.microsoft.com/office/drawing/2014/main" id="{900DB62A-8F2A-4742-9C40-2FC7AA18235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pic>
        <p:nvPicPr>
          <p:cNvPr id="83" name="Picture 82">
            <a:extLst>
              <a:ext uri="{FF2B5EF4-FFF2-40B4-BE49-F238E27FC236}">
                <a16:creationId xmlns:a16="http://schemas.microsoft.com/office/drawing/2014/main" id="{23B9FB7E-B586-4378-AE43-0A9B9CA0B98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5914517"/>
            <a:ext cx="3780000" cy="618750"/>
          </a:xfrm>
          <a:prstGeom prst="rect">
            <a:avLst/>
          </a:prstGeom>
        </p:spPr>
      </p:pic>
      <p:sp>
        <p:nvSpPr>
          <p:cNvPr id="124" name="Subtitle 2">
            <a:extLst>
              <a:ext uri="{FF2B5EF4-FFF2-40B4-BE49-F238E27FC236}">
                <a16:creationId xmlns:a16="http://schemas.microsoft.com/office/drawing/2014/main" id="{DE813F69-7E98-49B9-A563-B5D224235BE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8191" y="2825612"/>
            <a:ext cx="3612689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FFFFFF"/>
                </a:solidFill>
              </a:defRPr>
            </a:lvl2pPr>
            <a:lvl3pPr marL="0" indent="0" algn="l">
              <a:buNone/>
              <a:defRPr sz="1600">
                <a:solidFill>
                  <a:srgbClr val="FFFFFF"/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25" name="Title 1">
            <a:extLst>
              <a:ext uri="{FF2B5EF4-FFF2-40B4-BE49-F238E27FC236}">
                <a16:creationId xmlns:a16="http://schemas.microsoft.com/office/drawing/2014/main" id="{6135F81D-3120-4669-8305-5AB7CAA0504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88191" y="1855166"/>
            <a:ext cx="3612689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55194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5" name="Group 4">
            <a:extLst>
              <a:ext uri="{FF2B5EF4-FFF2-40B4-BE49-F238E27FC236}">
                <a16:creationId xmlns:a16="http://schemas.microsoft.com/office/drawing/2014/main" id="{916D9572-5294-4C0A-83C4-99E45F89495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88" y="5340350"/>
            <a:ext cx="987425" cy="1157288"/>
            <a:chOff x="4857" y="3364"/>
            <a:chExt cx="622" cy="729"/>
          </a:xfrm>
        </p:grpSpPr>
        <p:sp>
          <p:nvSpPr>
            <p:cNvPr id="86" name="AutoShape 3">
              <a:extLst>
                <a:ext uri="{FF2B5EF4-FFF2-40B4-BE49-F238E27FC236}">
                  <a16:creationId xmlns:a16="http://schemas.microsoft.com/office/drawing/2014/main" id="{5667BEF9-3DFA-4239-A852-71BA27EC8E18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7" name="Freeform 5">
              <a:extLst>
                <a:ext uri="{FF2B5EF4-FFF2-40B4-BE49-F238E27FC236}">
                  <a16:creationId xmlns:a16="http://schemas.microsoft.com/office/drawing/2014/main" id="{7E85CBCB-BA9A-4374-A431-F4DC5F8079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8" name="Freeform 6">
              <a:extLst>
                <a:ext uri="{FF2B5EF4-FFF2-40B4-BE49-F238E27FC236}">
                  <a16:creationId xmlns:a16="http://schemas.microsoft.com/office/drawing/2014/main" id="{5C0EF3BA-6104-4E1B-9F18-E642314A9A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pic>
        <p:nvPicPr>
          <p:cNvPr id="89" name="Picture 88">
            <a:extLst>
              <a:ext uri="{FF2B5EF4-FFF2-40B4-BE49-F238E27FC236}">
                <a16:creationId xmlns:a16="http://schemas.microsoft.com/office/drawing/2014/main" id="{BEA87971-BB0B-4ED2-8AC3-71D5B1159A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777240"/>
            <a:ext cx="6753225" cy="3400425"/>
          </a:xfrm>
          <a:prstGeom prst="rect">
            <a:avLst/>
          </a:prstGeom>
        </p:spPr>
      </p:pic>
      <p:sp>
        <p:nvSpPr>
          <p:cNvPr id="90" name="Subtitle 2">
            <a:extLst>
              <a:ext uri="{FF2B5EF4-FFF2-40B4-BE49-F238E27FC236}">
                <a16:creationId xmlns:a16="http://schemas.microsoft.com/office/drawing/2014/main" id="{D57E11BD-E2D9-41B1-9EF5-FF1EA0B8EB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8191" y="3258529"/>
            <a:ext cx="5943432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FFFFFF"/>
                </a:solidFill>
              </a:defRPr>
            </a:lvl2pPr>
            <a:lvl3pPr marL="0" indent="0" algn="l">
              <a:buNone/>
              <a:defRPr sz="1600">
                <a:solidFill>
                  <a:srgbClr val="FFFFFF"/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91" name="Title 1">
            <a:extLst>
              <a:ext uri="{FF2B5EF4-FFF2-40B4-BE49-F238E27FC236}">
                <a16:creationId xmlns:a16="http://schemas.microsoft.com/office/drawing/2014/main" id="{9E850DE9-7D5E-499B-8FA1-4143F639E0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88191" y="2288083"/>
            <a:ext cx="5943432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92" name="Picture 91">
            <a:extLst>
              <a:ext uri="{FF2B5EF4-FFF2-40B4-BE49-F238E27FC236}">
                <a16:creationId xmlns:a16="http://schemas.microsoft.com/office/drawing/2014/main" id="{620AFF6A-D70F-482C-ACA4-D71330481F1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5914517"/>
            <a:ext cx="3780000" cy="61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73685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1137920"/>
            <a:ext cx="82296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8197805-0689-4503-8125-F783F931714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25076755-5687-4D7F-83D1-5A2141D8256F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180DED-A206-48B8-8395-C38D75067D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21560" y="6516456"/>
            <a:ext cx="3695465" cy="1800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584CBDA-5400-4C9D-A814-1CE6E3FD4F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133359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6" name="Picture 145">
            <a:extLst>
              <a:ext uri="{FF2B5EF4-FFF2-40B4-BE49-F238E27FC236}">
                <a16:creationId xmlns:a16="http://schemas.microsoft.com/office/drawing/2014/main" id="{7FDAC7B4-6A01-49C4-9730-BF8572B139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9144000" cy="6858001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E4BCCB2E-3515-42EB-B2C6-FB7D701D1793}"/>
              </a:ext>
            </a:extLst>
          </p:cNvPr>
          <p:cNvSpPr/>
          <p:nvPr userDrawn="1"/>
        </p:nvSpPr>
        <p:spPr>
          <a:xfrm>
            <a:off x="0" y="5340096"/>
            <a:ext cx="9144000" cy="1517904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61000">
                <a:schemeClr val="bg2">
                  <a:alpha val="34000"/>
                </a:schemeClr>
              </a:gs>
              <a:gs pos="100000">
                <a:schemeClr val="bg2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200" dirty="0">
              <a:solidFill>
                <a:schemeClr val="tx1"/>
              </a:solidFill>
            </a:endParaRPr>
          </a:p>
        </p:txBody>
      </p:sp>
      <p:pic>
        <p:nvPicPr>
          <p:cNvPr id="84" name="Picture 83">
            <a:extLst>
              <a:ext uri="{FF2B5EF4-FFF2-40B4-BE49-F238E27FC236}">
                <a16:creationId xmlns:a16="http://schemas.microsoft.com/office/drawing/2014/main" id="{9C231702-C029-4BB5-90D1-8311DD931DF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0361" y="5340096"/>
            <a:ext cx="987552" cy="1156968"/>
          </a:xfrm>
          <a:prstGeom prst="rect">
            <a:avLst/>
          </a:prstGeom>
        </p:spPr>
      </p:pic>
      <p:pic>
        <p:nvPicPr>
          <p:cNvPr id="73" name="Picture 72">
            <a:extLst>
              <a:ext uri="{FF2B5EF4-FFF2-40B4-BE49-F238E27FC236}">
                <a16:creationId xmlns:a16="http://schemas.microsoft.com/office/drawing/2014/main" id="{6451607B-CAB5-4136-AB12-1BF3A1C4485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457200"/>
            <a:ext cx="4654295" cy="3930900"/>
          </a:xfrm>
          <a:prstGeom prst="rect">
            <a:avLst/>
          </a:prstGeom>
        </p:spPr>
      </p:pic>
      <p:sp>
        <p:nvSpPr>
          <p:cNvPr id="74" name="Title 1">
            <a:extLst>
              <a:ext uri="{FF2B5EF4-FFF2-40B4-BE49-F238E27FC236}">
                <a16:creationId xmlns:a16="http://schemas.microsoft.com/office/drawing/2014/main" id="{01B1427F-F1DB-442D-870C-2543A78EC3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86968" y="1799130"/>
            <a:ext cx="3593592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rgbClr val="FFFFFF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5" name="Subtitle 2">
            <a:extLst>
              <a:ext uri="{FF2B5EF4-FFF2-40B4-BE49-F238E27FC236}">
                <a16:creationId xmlns:a16="http://schemas.microsoft.com/office/drawing/2014/main" id="{97E0F9BC-39E2-4ADF-93B9-7358577711C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6968" y="2769576"/>
            <a:ext cx="3593592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rgbClr val="FFFFFF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45" name="Picture 144">
            <a:extLst>
              <a:ext uri="{FF2B5EF4-FFF2-40B4-BE49-F238E27FC236}">
                <a16:creationId xmlns:a16="http://schemas.microsoft.com/office/drawing/2014/main" id="{727C5A3D-F97A-4F85-9F88-240C243986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5914517"/>
            <a:ext cx="3780000" cy="61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2111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A80CEA2-D107-4E43-B632-8CAB22A8CAC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4D67AF60-DF2C-4DD5-A075-8C89863EB287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3FCC4BD-E0C7-4008-8760-F505B7C870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>
                <a:solidFill>
                  <a:srgbClr val="2E2E38"/>
                </a:solidFill>
              </a:rPr>
              <a:t>Анализ вклада отрасли добычи и переработки золота в экономику и социальное развитие Республики Казахстан</a:t>
            </a:r>
            <a:endParaRPr lang="ru-RU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3ED2ADF-C3C7-4D61-8B10-4ED75087C3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8219039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_no_top_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A80CEA2-D107-4E43-B632-8CAB22A8CAC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4D67AF60-DF2C-4DD5-A075-8C89863EB287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3FCC4BD-E0C7-4008-8760-F505B7C870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>
                <a:solidFill>
                  <a:srgbClr val="2E2E38"/>
                </a:solidFill>
              </a:rPr>
              <a:t>Анализ вклада отрасли добычи и переработки золота в экономику и социальное развитие Республики Казахстан</a:t>
            </a:r>
            <a:endParaRPr lang="ru-RU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3ED2ADF-C3C7-4D61-8B10-4ED75087C3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3193543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46139" y="1"/>
            <a:ext cx="2997862" cy="615610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558041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1137921"/>
            <a:ext cx="5471882" cy="873760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57201" y="2311401"/>
            <a:ext cx="2683690" cy="3844704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3245392" y="2311402"/>
            <a:ext cx="2683690" cy="1254759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245392" y="4236721"/>
            <a:ext cx="2683690" cy="1944160"/>
          </a:xfrm>
        </p:spPr>
        <p:txBody>
          <a:bodyPr numCol="1"/>
          <a:lstStyle>
            <a:lvl1pPr marL="0" indent="0">
              <a:buNone/>
              <a:defRPr sz="134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5789875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031161-0EF0-4994-BAAC-817AFCD5564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21F5ABFD-4D88-46E2-86D0-8E726758F477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4A1A6EA-628B-40CB-AD7E-45CB0B91C2D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099134-47E0-4E77-855E-45C10B9B8B1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9880264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787414" cy="685799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20418" y="294200"/>
            <a:ext cx="6665528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020417" y="1137921"/>
            <a:ext cx="2056091" cy="5018184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293076" y="1137921"/>
            <a:ext cx="2101787" cy="5018184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611431" y="1137922"/>
            <a:ext cx="2075369" cy="2796151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/>
        </p:nvSpPr>
        <p:spPr bwMode="auto">
          <a:xfrm>
            <a:off x="2020418" y="907750"/>
            <a:ext cx="6665528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E1076-97C0-41B2-AAE5-AD919BB2DC2E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82140DD7-24EE-4585-B854-30DE462353D6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A40DA20-3A42-4B9D-A853-92BEABFB15B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C6E24F-B7C3-43FD-BF17-E37070A300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9245285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1137920"/>
            <a:ext cx="6175841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95E81C-0962-435D-B7CC-E9E7007F1F8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16039ACA-DE51-4EBE-A0D1-6352F2D9BF3A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CDD1B3-89EC-47BA-A26E-D040220115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9ACB01-FCA5-4FE1-B210-29952B46CA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6018115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4F2FF79-6C5A-4FA6-A677-13133BD390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8775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4F2FF79-6C5A-4FA6-A677-13133BD390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4463" y="2851522"/>
            <a:ext cx="3334113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699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9" marR="0" lvl="0" indent="-267319" defTabSz="75551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ACF31FF-92C4-4CFE-89C8-231A1B4903B6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2CFACC45-0700-46B3-A2A5-8EA5A5C07368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B72E31-AECD-4259-BF90-99398FE128B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DE2F2A-9E13-4DC5-89FE-0719F2B171F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1455125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4463" y="2851522"/>
            <a:ext cx="3334113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699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9" marR="0" lvl="0" indent="-267319" defTabSz="75551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B824A25-AAE3-42CE-906A-12D97307C1F3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4C5782BF-F78E-4C8B-BFDA-73D158B024C4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DD7A84-5352-4432-83C2-4B3F3BD889A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5019A7-134D-49ED-8707-807B58B2E5D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8867015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67954" y="0"/>
            <a:ext cx="4476046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7135" y="2578743"/>
            <a:ext cx="3401698" cy="1055708"/>
          </a:xfrm>
        </p:spPr>
        <p:txBody>
          <a:bodyPr/>
          <a:lstStyle>
            <a:lvl1pPr marL="0" indent="0">
              <a:buNone/>
              <a:defRPr sz="2249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77135" y="3840384"/>
            <a:ext cx="3401698" cy="1055708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IN" dirty="0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DA49F8-A774-4DD1-8745-65E01AB0472C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E6E457F2-A06A-4DF4-8FF2-B132707F3E39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4C0F4CC-50C9-4C20-A16A-91535919DC9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53C557-8F9C-4613-8095-373D3EE8052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5128695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457200" y="1137921"/>
            <a:ext cx="3716193" cy="4267457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41864" y="3813288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1864" y="4055931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89866" y="1137921"/>
            <a:ext cx="409693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89866" y="1635009"/>
            <a:ext cx="4096935" cy="1611554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US" dirty="0"/>
              <a:t>Content EY Interstate Light, 12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17" name="Picture Placeholder 19">
            <a:extLst>
              <a:ext uri="{FF2B5EF4-FFF2-40B4-BE49-F238E27FC236}">
                <a16:creationId xmlns:a16="http://schemas.microsoft.com/office/drawing/2014/main" id="{70E81591-07D5-438D-AAD4-4B9A889F448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589864" y="3578084"/>
            <a:ext cx="777600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5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B440ECC-CB43-49D3-ABF3-A5F4F308E7E2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C50D79EF-E63D-4EA1-82CF-CAE2A95C901A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4279E38-5A0D-4584-B4BB-113C1A4C50C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3F8B89-1ED7-4BD8-90B0-47F3DF32AD7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5291946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4">
            <a:extLst>
              <a:ext uri="{FF2B5EF4-FFF2-40B4-BE49-F238E27FC236}">
                <a16:creationId xmlns:a16="http://schemas.microsoft.com/office/drawing/2014/main" id="{54B0064F-CA12-4F8F-B694-23C41AD0F16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284464" y="6327648"/>
            <a:ext cx="402336" cy="412867"/>
            <a:chOff x="7110" y="4004"/>
            <a:chExt cx="191" cy="196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F93F004B-02B9-4455-A020-115CFB37BE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19F4E2CA-BA89-47F8-8C68-7CACFBAF82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32993525-96BF-457D-86C8-A5E217C20B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6" name="Date Placeholder 2">
            <a:extLst>
              <a:ext uri="{FF2B5EF4-FFF2-40B4-BE49-F238E27FC236}">
                <a16:creationId xmlns:a16="http://schemas.microsoft.com/office/drawing/2014/main" id="{D8973D65-036E-4D65-AAA3-1427C4AA0C9B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20EB5FB-88DA-42E2-9902-BFAB9334E948}" type="datetime3">
              <a:rPr lang="en-US" smtClean="0"/>
              <a:t>18 October 2021</a:t>
            </a:fld>
            <a:endParaRPr lang="en-US" dirty="0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9711A3A-DB5C-4C5F-BF5A-7DBDD6EFF607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3321561" y="6516456"/>
            <a:ext cx="30861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40A4236-AC64-456A-B3F9-BED41065570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363093" y="6516456"/>
            <a:ext cx="663066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601810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" name="Picture 77">
            <a:extLst>
              <a:ext uri="{FF2B5EF4-FFF2-40B4-BE49-F238E27FC236}">
                <a16:creationId xmlns:a16="http://schemas.microsoft.com/office/drawing/2014/main" id="{581C513F-D0C9-46EE-93E2-83D5128319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0361" y="5340096"/>
            <a:ext cx="987552" cy="1156968"/>
          </a:xfrm>
          <a:prstGeom prst="rect">
            <a:avLst/>
          </a:prstGeom>
        </p:spPr>
      </p:pic>
      <p:pic>
        <p:nvPicPr>
          <p:cNvPr id="74" name="Picture 73">
            <a:extLst>
              <a:ext uri="{FF2B5EF4-FFF2-40B4-BE49-F238E27FC236}">
                <a16:creationId xmlns:a16="http://schemas.microsoft.com/office/drawing/2014/main" id="{7204B28E-7010-45B1-9A81-2C543F9490F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777240"/>
            <a:ext cx="6753225" cy="3400425"/>
          </a:xfrm>
          <a:prstGeom prst="rect">
            <a:avLst/>
          </a:prstGeom>
        </p:spPr>
      </p:pic>
      <p:sp>
        <p:nvSpPr>
          <p:cNvPr id="75" name="Subtitle 2">
            <a:extLst>
              <a:ext uri="{FF2B5EF4-FFF2-40B4-BE49-F238E27FC236}">
                <a16:creationId xmlns:a16="http://schemas.microsoft.com/office/drawing/2014/main" id="{24F2EA79-0822-4B81-90D8-1FA02CFB98D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8191" y="3258529"/>
            <a:ext cx="5943432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rgbClr val="FFFFFF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FFFFFF"/>
                </a:solidFill>
              </a:defRPr>
            </a:lvl2pPr>
            <a:lvl3pPr marL="0" indent="0" algn="l">
              <a:buNone/>
              <a:defRPr sz="1600">
                <a:solidFill>
                  <a:srgbClr val="FFFFFF"/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76" name="Title 1">
            <a:extLst>
              <a:ext uri="{FF2B5EF4-FFF2-40B4-BE49-F238E27FC236}">
                <a16:creationId xmlns:a16="http://schemas.microsoft.com/office/drawing/2014/main" id="{EC2B6F8E-BD78-40B0-B08A-973D853594C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88191" y="2288083"/>
            <a:ext cx="5943432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rgbClr val="FFFFFF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279" name="Picture 278">
            <a:extLst>
              <a:ext uri="{FF2B5EF4-FFF2-40B4-BE49-F238E27FC236}">
                <a16:creationId xmlns:a16="http://schemas.microsoft.com/office/drawing/2014/main" id="{5A33645C-A5C8-4EA5-A3D8-D74C0FE66CD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5914517"/>
            <a:ext cx="3780000" cy="61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03394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F607F99-5C2B-4FC6-A3DF-23E011C842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4464" y="6327648"/>
            <a:ext cx="402504" cy="411480"/>
          </a:xfrm>
          <a:prstGeom prst="rect">
            <a:avLst/>
          </a:prstGeom>
        </p:spPr>
      </p:pic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8FBE9395-9BF1-4306-9F29-1F8E92C9F8DB}"/>
              </a:ext>
            </a:extLst>
          </p:cNvPr>
          <p:cNvSpPr txBox="1">
            <a:spLocks/>
          </p:cNvSpPr>
          <p:nvPr userDrawn="1"/>
        </p:nvSpPr>
        <p:spPr>
          <a:xfrm>
            <a:off x="3757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200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87DD12F9-AC78-4784-A2C0-5FB6EC5A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1750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3BB2527F-4DCE-4CB5-A96D-2E432FD5A07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1750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Name Surnam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7DFFB3C-E689-440E-8EDB-465853B3460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1750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Job Title</a:t>
            </a:r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09667CEE-F273-4416-9D45-A0E825F14911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284464" y="6327648"/>
            <a:ext cx="402336" cy="412867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3F5A26-EE33-4654-ACA2-880B36B275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325D6EF1-9951-4386-9E98-24FDBF5827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572CC147-C47E-4B17-9D76-D39D3C36CE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61505445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BD7B1EAA-D62E-426F-9D29-F674CEB29C3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26000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 algn="ctr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C43D8C34-69FC-4DEE-BC95-D2F629475EB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26000" y="551683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78FCBB-C01D-4FF8-828E-0E27552CA9C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926000" y="582887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Job Titl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0AD41D48-C813-4F78-A2C8-0758D2B7DC18}"/>
              </a:ext>
            </a:extLst>
          </p:cNvPr>
          <p:cNvSpPr txBox="1">
            <a:spLocks/>
          </p:cNvSpPr>
          <p:nvPr userDrawn="1"/>
        </p:nvSpPr>
        <p:spPr>
          <a:xfrm>
            <a:off x="3402806" y="979787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200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FF60CB08-2DD7-4911-8D80-BCAC7944540B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284464" y="6327648"/>
            <a:ext cx="402336" cy="412867"/>
            <a:chOff x="7110" y="4004"/>
            <a:chExt cx="191" cy="196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C7E6D8E8-E311-4EB7-AFAA-50963EA7B1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53EFA7D4-C8AD-4C58-A0EE-C2B700393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E459CDB2-C2F0-4E1A-AC90-F93C856AA5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72945152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1137920"/>
            <a:ext cx="6175841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67319">
              <a:defRPr>
                <a:solidFill>
                  <a:schemeClr val="bg1"/>
                </a:solidFill>
              </a:defRPr>
            </a:lvl2pPr>
            <a:lvl3pPr marL="534639">
              <a:defRPr>
                <a:solidFill>
                  <a:schemeClr val="bg1"/>
                </a:solidFill>
              </a:defRPr>
            </a:lvl3pPr>
            <a:lvl4pPr marL="801958">
              <a:defRPr>
                <a:solidFill>
                  <a:schemeClr val="bg1"/>
                </a:solidFill>
              </a:defRPr>
            </a:lvl4pPr>
            <a:lvl5pPr marL="1069277"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BF0A34-C36D-461B-A015-21A5DA63B59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B8888596-508F-462B-B8B6-8FA53F52D1AD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ECF0E1-C505-48F8-AD92-7D8685FF48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682A11-B39D-4FE0-A53D-0F1661DE05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5400736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03DAEA1-6A90-4FC2-97C7-E8CE0391435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D9D13043-761F-484F-A1D9-D4AB681B3B46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B819100-2154-4CEF-A4AE-869A873311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B93803-CB8A-4830-8E96-5C407868A0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9101674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1" y="1137919"/>
            <a:ext cx="4038600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1" y="1137919"/>
            <a:ext cx="4038600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E1BDE01-7D08-4922-9259-4581BC33C3E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A407A766-6744-4FCF-AEA2-FA6B5CA7ADFF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29C6724-47E1-45B5-B455-099BFD53BB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8340A57-5875-43E6-BEEA-8CEBCDCA30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9092546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9247" y="1869441"/>
            <a:ext cx="4042800" cy="4256075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7304" y="1869441"/>
            <a:ext cx="4042800" cy="4256075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1" y="1137920"/>
            <a:ext cx="40428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47304" y="1137920"/>
            <a:ext cx="40428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FCA5F9A-0842-4BED-A447-9C3F6915DCDD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16D3C7FA-0034-41F1-8F3D-82A19802CA0B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8AD82-A588-4EFB-A956-62AC671AB8A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F77DB56-43F3-4932-8420-FA767EBAB47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7453445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B7547C-9236-44B2-927D-EE1C7DF06D3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E7E48C62-EF70-4649-BEE5-7088B7A72173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E2AC0F-F4F4-46F1-8E38-470CA2132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B301A4-CE65-4914-B017-DED28C2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3806594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3A9D79-13D5-4189-B325-32C1E30071D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BFF38A36-9DCC-476A-8342-5844FA866458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690CD3-106E-4E37-A338-7D12BDB87E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97AA2E-8C14-46B6-80A1-837B7775D6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8634277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813CB0-F911-4F63-ADF4-31E748E46E9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400D4070-0F17-4C2D-8110-266E478443EB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E00D68-E42E-4E18-97BC-09F3CC3C71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09C18C-4659-4936-9B48-47D9169929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839193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1F7CA26-2B7B-4622-93A8-93EC10CCBE9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47904799-D735-4440-A19F-2F01569ACB38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0E24E25-AADE-42B5-BB07-A8C5FC7FBF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9B93A4-EF49-4605-8E7D-22AB1304F1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A3678118-FB9F-46C1-A6F2-3E42EC5536B0}"/>
              </a:ext>
            </a:extLst>
          </p:cNvPr>
          <p:cNvSpPr>
            <a:spLocks/>
          </p:cNvSpPr>
          <p:nvPr userDrawn="1"/>
        </p:nvSpPr>
        <p:spPr bwMode="gray">
          <a:xfrm>
            <a:off x="457200" y="1039815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6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1D46014-541B-4C37-8BD9-33F3A3BE76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024086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70E64C6A-78AE-4547-94F4-A7E658DB2EFB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1" y="907750"/>
            <a:ext cx="8258782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CE7A319-28F8-4E6B-8249-40111354BC6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008048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FDE457A2-0C32-4254-A836-5848245A8D5E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B3A21D-493F-4B42-85B4-BCE5E8F929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C0E1552-BF13-453D-A76C-3B49D9C857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7201" y="6516456"/>
            <a:ext cx="663066" cy="180000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Стр.</a:t>
            </a:r>
            <a:r>
              <a:rPr lang="en-GB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FC3EC46-D295-425C-8ED2-70D3C94626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1137920"/>
            <a:ext cx="82296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861262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58AD78-6C49-405F-80BD-8F5F9CFAD79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CEC94C50-DA7E-44E6-97D6-418D86EB1BE6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A3A6C55-F277-42AF-8500-E16F039B9A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368E36-B58F-4FD6-B92E-04754A1D83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519225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9144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E480A10-F3A8-4482-9A96-E4A2985059D6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BD570656-E1C8-4CDF-8448-CAC404D99B8E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D942338-84D5-44C7-ADEC-04C9C56CF23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AC4917-7B6B-475D-AAE6-8F714438F25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2717944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719139"/>
            <a:ext cx="3506400" cy="5210062"/>
          </a:xfrm>
        </p:spPr>
        <p:txBody>
          <a:bodyPr/>
          <a:lstStyle>
            <a:lvl1pPr marL="0" indent="0" algn="l" defTabSz="746124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9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32089" indent="-13208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41609" indent="-14160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8291432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4226664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064" y="2504281"/>
            <a:ext cx="3334113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6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9" marR="0" lvl="0" indent="-267319" defTabSz="75551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42413CE-C4D0-4ABD-A496-80941F07BDB0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A5597E02-1EF9-4373-B932-BB6E596D0008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6AF2A22-94A3-41BF-9F87-44E3FEF33B4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5C79A1-12F2-4F8B-A8F3-F46D58F4CB3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9411270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787414" cy="6857999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20418" y="294200"/>
            <a:ext cx="6665528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020417" y="1137921"/>
            <a:ext cx="2056091" cy="5018184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293076" y="1137921"/>
            <a:ext cx="2101787" cy="5018184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6611431" y="1137922"/>
            <a:ext cx="2075369" cy="2796151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7" name="Line 10">
            <a:extLst>
              <a:ext uri="{FF2B5EF4-FFF2-40B4-BE49-F238E27FC236}">
                <a16:creationId xmlns:a16="http://schemas.microsoft.com/office/drawing/2014/main" id="{1FE654FB-261F-44E5-8EF9-237DB835D71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023353" y="907750"/>
            <a:ext cx="669263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3AD698-0E41-4FCF-AB31-51B8D1AE402F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86AC4EAF-3411-4527-A4CA-E794DD2CD631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9018413-4A60-4C02-9E4A-E0257623113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74983C1-0EF4-4B2C-97F2-6888EAEE5D8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457201" y="6516456"/>
            <a:ext cx="663066" cy="180000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Стр.</a:t>
            </a:r>
            <a:r>
              <a:rPr lang="en-GB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4790517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9C0DD7D-5B2C-4539-8FE2-07617C2EF1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4805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9C0DD7D-5B2C-4539-8FE2-07617C2EF1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128D225-A95C-4182-BE44-3E9027AF283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ru-RU" sz="30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945AD81-9D09-493D-94B8-1CAA625F68C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0361" y="5340096"/>
            <a:ext cx="987552" cy="1156968"/>
          </a:xfrm>
          <a:prstGeom prst="rect">
            <a:avLst/>
          </a:prstGeom>
        </p:spPr>
      </p:pic>
      <p:sp>
        <p:nvSpPr>
          <p:cNvPr id="7" name="Freeform 5">
            <a:extLst>
              <a:ext uri="{FF2B5EF4-FFF2-40B4-BE49-F238E27FC236}">
                <a16:creationId xmlns:a16="http://schemas.microsoft.com/office/drawing/2014/main" id="{B7F2A12E-7729-47A0-BC4C-937A569C1503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70054" y="457199"/>
            <a:ext cx="4507059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306FE6B-2888-42EC-9409-22E0C44C3E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6326" y="1476597"/>
            <a:ext cx="4064949" cy="860400"/>
          </a:xfrm>
        </p:spPr>
        <p:txBody>
          <a:bodyPr/>
          <a:lstStyle>
            <a:lvl1pPr>
              <a:defRPr sz="3000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ru-RU" dirty="0"/>
              <a:t>Стимулирование развития золотодобывающей отрасли Казахстана</a:t>
            </a:r>
            <a:endParaRPr lang="en-GB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2FC3DF6-2861-4293-9E33-F3E405EF9F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6325" y="3337832"/>
            <a:ext cx="4064949" cy="3912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 b="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ru-RU" dirty="0">
                <a:solidFill>
                  <a:schemeClr val="bg1"/>
                </a:solidFill>
              </a:rPr>
              <a:t>Август, 2020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5617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/>
        </p:nvCxnSpPr>
        <p:spPr>
          <a:xfrm>
            <a:off x="999368" y="5709060"/>
            <a:ext cx="6088405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/>
        </p:nvSpPr>
        <p:spPr>
          <a:xfrm>
            <a:off x="346308" y="5605201"/>
            <a:ext cx="783397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9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9368" y="6019189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99368" y="6216807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0F898568-1B78-454B-9FE7-9E37EEF85A89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70054" y="457199"/>
            <a:ext cx="4507059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C105A121-2DA3-4610-BC32-EBB7F8ABAFD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6326" y="1476597"/>
            <a:ext cx="3813414" cy="860400"/>
          </a:xfrm>
        </p:spPr>
        <p:txBody>
          <a:bodyPr/>
          <a:lstStyle>
            <a:lvl1pPr>
              <a:defRPr sz="3000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 dirty="0"/>
              <a:t>Title (EY Interstate </a:t>
            </a:r>
            <a:r>
              <a:rPr lang="en-GB"/>
              <a:t>Light 30 </a:t>
            </a:r>
            <a:r>
              <a:rPr lang="en-GB" dirty="0"/>
              <a:t>point)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61BB2EE4-E5D4-4DD9-97C5-CF16A0A2327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6327" y="2422864"/>
            <a:ext cx="3813414" cy="64574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600" dirty="0"/>
              <a:t>Subtitle (EY Interstate 16 point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b="1" dirty="0"/>
              <a:t>XX Month 200X (EY Interstate bold 16 point)</a:t>
            </a:r>
            <a:endParaRPr lang="en-GB" sz="1600" dirty="0"/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403A0AAB-2D99-480E-8BCB-0300B2E4CA7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88" y="5340350"/>
            <a:ext cx="987425" cy="1157288"/>
            <a:chOff x="4857" y="3364"/>
            <a:chExt cx="622" cy="729"/>
          </a:xfrm>
        </p:grpSpPr>
        <p:sp>
          <p:nvSpPr>
            <p:cNvPr id="6" name="AutoShape 3">
              <a:extLst>
                <a:ext uri="{FF2B5EF4-FFF2-40B4-BE49-F238E27FC236}">
                  <a16:creationId xmlns:a16="http://schemas.microsoft.com/office/drawing/2014/main" id="{136D971F-E278-4FE8-BAE4-2AD4D04270F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1954568E-D3F2-4EA1-8901-CBA2FF03DD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E19C9D94-B5B9-4323-A444-83000773662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tx1"/>
                </a:solidFill>
              </a:endParaRPr>
            </a:p>
          </p:txBody>
        </p:sp>
      </p:grp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14F1DE27-AD0C-4A9A-9D8D-4F823ECEAD7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6306" y="5914642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5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5505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/>
        </p:nvCxnSpPr>
        <p:spPr>
          <a:xfrm>
            <a:off x="999368" y="5709060"/>
            <a:ext cx="6088405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/>
        </p:nvSpPr>
        <p:spPr>
          <a:xfrm>
            <a:off x="346308" y="5605201"/>
            <a:ext cx="783397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9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6308" y="6019189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6308" y="6216807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8" name="Freeform 5">
            <a:extLst>
              <a:ext uri="{FF2B5EF4-FFF2-40B4-BE49-F238E27FC236}">
                <a16:creationId xmlns:a16="http://schemas.microsoft.com/office/drawing/2014/main" id="{160A7550-5D67-4923-A7BC-21E832215440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70054" y="457199"/>
            <a:ext cx="4507059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D57A982A-5252-472B-BD55-97D51532138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6326" y="1476597"/>
            <a:ext cx="3813414" cy="860400"/>
          </a:xfrm>
        </p:spPr>
        <p:txBody>
          <a:bodyPr/>
          <a:lstStyle>
            <a:lvl1pPr>
              <a:defRPr sz="3000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 dirty="0"/>
              <a:t>Title (EY Interstate </a:t>
            </a:r>
            <a:r>
              <a:rPr lang="en-GB"/>
              <a:t>Light 30 </a:t>
            </a:r>
            <a:r>
              <a:rPr lang="en-GB" dirty="0"/>
              <a:t>point)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F809C9F7-7674-4F00-8A7B-4EBDB5F94FB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6327" y="2422864"/>
            <a:ext cx="3813414" cy="64574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600" dirty="0"/>
              <a:t>Subtitle (EY Interstate 16 point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b="1" dirty="0"/>
              <a:t>XX Month 200X (EY Interstate bold 16 point)</a:t>
            </a:r>
            <a:endParaRPr lang="en-GB" sz="1600" dirty="0"/>
          </a:p>
        </p:txBody>
      </p:sp>
      <p:grpSp>
        <p:nvGrpSpPr>
          <p:cNvPr id="22" name="Group 4">
            <a:extLst>
              <a:ext uri="{FF2B5EF4-FFF2-40B4-BE49-F238E27FC236}">
                <a16:creationId xmlns:a16="http://schemas.microsoft.com/office/drawing/2014/main" id="{2FBA4DFB-2D74-4887-91FA-9FE36EADD25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88" y="5340350"/>
            <a:ext cx="987425" cy="1157288"/>
            <a:chOff x="4857" y="3364"/>
            <a:chExt cx="622" cy="729"/>
          </a:xfrm>
        </p:grpSpPr>
        <p:sp>
          <p:nvSpPr>
            <p:cNvPr id="23" name="AutoShape 3">
              <a:extLst>
                <a:ext uri="{FF2B5EF4-FFF2-40B4-BE49-F238E27FC236}">
                  <a16:creationId xmlns:a16="http://schemas.microsoft.com/office/drawing/2014/main" id="{B223B0E3-13DC-4092-840F-C19C33D0170D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720F86E7-783D-48A5-9A99-BBE51AD8BB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8EA618E4-F6E6-47C9-85C3-E1EF97EB6DF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1850338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5">
            <a:extLst>
              <a:ext uri="{FF2B5EF4-FFF2-40B4-BE49-F238E27FC236}">
                <a16:creationId xmlns:a16="http://schemas.microsoft.com/office/drawing/2014/main" id="{770C05D4-D8C4-4691-89DC-120E06C0A0E8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70054" y="457199"/>
            <a:ext cx="4507059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750119" y="1677507"/>
            <a:ext cx="3957735" cy="860400"/>
          </a:xfrm>
        </p:spPr>
        <p:txBody>
          <a:bodyPr/>
          <a:lstStyle>
            <a:lvl1pPr>
              <a:defRPr sz="3000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 dirty="0"/>
              <a:t>Title (EY Interstate </a:t>
            </a:r>
            <a:r>
              <a:rPr lang="en-GB"/>
              <a:t>Light 30 </a:t>
            </a:r>
            <a:r>
              <a:rPr lang="en-GB" dirty="0"/>
              <a:t>point)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50119" y="2685128"/>
            <a:ext cx="3957735" cy="64574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600" dirty="0"/>
              <a:t>Subtitle (EY Interstate 16 point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GB" dirty="0">
                <a:latin typeface="EYInterstate" panose="02000503020000020004" pitchFamily="2" charset="0"/>
              </a:rPr>
              <a:t>XX Month 200X (EY Interstate bold 16 point)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77AB755-0634-43A3-B427-C896D8448ABA}"/>
              </a:ext>
            </a:extLst>
          </p:cNvPr>
          <p:cNvCxnSpPr>
            <a:cxnSpLocks/>
          </p:cNvCxnSpPr>
          <p:nvPr userDrawn="1"/>
        </p:nvCxnSpPr>
        <p:spPr>
          <a:xfrm>
            <a:off x="1333184" y="5691442"/>
            <a:ext cx="5669280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5246095A-D7CE-45C6-8BF9-B5543F78C034}"/>
              </a:ext>
            </a:extLst>
          </p:cNvPr>
          <p:cNvSpPr txBox="1"/>
          <p:nvPr userDrawn="1"/>
        </p:nvSpPr>
        <p:spPr>
          <a:xfrm>
            <a:off x="461984" y="5587582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9D785C9C-C30C-4D97-AE69-8F7DD8E35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184" y="6001571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  <a:latin typeface="EYInterstate Light" panose="02000506000000020004" pitchFamily="2" charset="0"/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E9ED2CF-644F-4B9E-820F-6BF4B84D684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184" y="6199189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rgbClr val="FFD200"/>
                </a:solidFill>
                <a:latin typeface="EYInterstate Light" panose="02000506000000020004" pitchFamily="2" charset="0"/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9" name="Picture Placeholder 19">
            <a:extLst>
              <a:ext uri="{FF2B5EF4-FFF2-40B4-BE49-F238E27FC236}">
                <a16:creationId xmlns:a16="http://schemas.microsoft.com/office/drawing/2014/main" id="{220D652C-43A8-4888-A086-F26EAFCF8D7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983" y="5897024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  <a:latin typeface="EYInterstate Light" panose="02000506000000020004" pitchFamily="2" charset="0"/>
              </a:defRPr>
            </a:lvl1pPr>
          </a:lstStyle>
          <a:p>
            <a:endParaRPr lang="en-GB" dirty="0"/>
          </a:p>
        </p:txBody>
      </p:sp>
      <p:grpSp>
        <p:nvGrpSpPr>
          <p:cNvPr id="20" name="Group 4">
            <a:extLst>
              <a:ext uri="{FF2B5EF4-FFF2-40B4-BE49-F238E27FC236}">
                <a16:creationId xmlns:a16="http://schemas.microsoft.com/office/drawing/2014/main" id="{2FBA4DFB-2D74-4887-91FA-9FE36EADD25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88" y="5340350"/>
            <a:ext cx="987425" cy="1157288"/>
            <a:chOff x="4857" y="3364"/>
            <a:chExt cx="622" cy="729"/>
          </a:xfrm>
        </p:grpSpPr>
        <p:sp>
          <p:nvSpPr>
            <p:cNvPr id="21" name="AutoShape 3">
              <a:extLst>
                <a:ext uri="{FF2B5EF4-FFF2-40B4-BE49-F238E27FC236}">
                  <a16:creationId xmlns:a16="http://schemas.microsoft.com/office/drawing/2014/main" id="{B223B0E3-13DC-4092-840F-C19C33D0170D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720F86E7-783D-48A5-9A99-BBE51AD8BB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8EA618E4-F6E6-47C9-85C3-E1EF97EB6DF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445040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 sz="17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5AF1241-E9B6-4AFC-94DC-380325C3DE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008048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2E6BF5DC-3554-4D2C-A67C-20AA0E421AA8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7181A62-2FE8-40E2-AD71-A2FCBF45A1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434FE67-B066-4247-BB41-6FE7CE167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7201" y="6516456"/>
            <a:ext cx="663066" cy="180000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Стр.</a:t>
            </a:r>
            <a:r>
              <a:rPr lang="en-GB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0473189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Picture 118">
            <a:extLst>
              <a:ext uri="{FF2B5EF4-FFF2-40B4-BE49-F238E27FC236}">
                <a16:creationId xmlns:a16="http://schemas.microsoft.com/office/drawing/2014/main" id="{EAA736A0-D2E9-4CA1-BF9F-5E33CF39B8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457200"/>
            <a:ext cx="4654295" cy="3930900"/>
          </a:xfrm>
          <a:prstGeom prst="rect">
            <a:avLst/>
          </a:prstGeom>
        </p:spPr>
      </p:pic>
      <p:grpSp>
        <p:nvGrpSpPr>
          <p:cNvPr id="79" name="Group 4">
            <a:extLst>
              <a:ext uri="{FF2B5EF4-FFF2-40B4-BE49-F238E27FC236}">
                <a16:creationId xmlns:a16="http://schemas.microsoft.com/office/drawing/2014/main" id="{A159D8C9-C19B-4DF7-9C5A-22EDB8A5FB9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88" y="5340350"/>
            <a:ext cx="987425" cy="1157288"/>
            <a:chOff x="4857" y="3364"/>
            <a:chExt cx="622" cy="729"/>
          </a:xfrm>
        </p:grpSpPr>
        <p:sp>
          <p:nvSpPr>
            <p:cNvPr id="80" name="AutoShape 3">
              <a:extLst>
                <a:ext uri="{FF2B5EF4-FFF2-40B4-BE49-F238E27FC236}">
                  <a16:creationId xmlns:a16="http://schemas.microsoft.com/office/drawing/2014/main" id="{D95FB310-FD8D-4315-8C3A-8966DC1515AB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1" name="Freeform 5">
              <a:extLst>
                <a:ext uri="{FF2B5EF4-FFF2-40B4-BE49-F238E27FC236}">
                  <a16:creationId xmlns:a16="http://schemas.microsoft.com/office/drawing/2014/main" id="{B0F72F2B-2B88-4D56-A5C3-5C83787BA0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2" name="Freeform 6">
              <a:extLst>
                <a:ext uri="{FF2B5EF4-FFF2-40B4-BE49-F238E27FC236}">
                  <a16:creationId xmlns:a16="http://schemas.microsoft.com/office/drawing/2014/main" id="{900DB62A-8F2A-4742-9C40-2FC7AA18235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pic>
        <p:nvPicPr>
          <p:cNvPr id="83" name="Picture 82">
            <a:extLst>
              <a:ext uri="{FF2B5EF4-FFF2-40B4-BE49-F238E27FC236}">
                <a16:creationId xmlns:a16="http://schemas.microsoft.com/office/drawing/2014/main" id="{23B9FB7E-B586-4378-AE43-0A9B9CA0B98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5914517"/>
            <a:ext cx="3780000" cy="618750"/>
          </a:xfrm>
          <a:prstGeom prst="rect">
            <a:avLst/>
          </a:prstGeom>
        </p:spPr>
      </p:pic>
      <p:sp>
        <p:nvSpPr>
          <p:cNvPr id="124" name="Subtitle 2">
            <a:extLst>
              <a:ext uri="{FF2B5EF4-FFF2-40B4-BE49-F238E27FC236}">
                <a16:creationId xmlns:a16="http://schemas.microsoft.com/office/drawing/2014/main" id="{DE813F69-7E98-49B9-A563-B5D224235BE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8191" y="2825612"/>
            <a:ext cx="3612689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FFFFFF"/>
                </a:solidFill>
              </a:defRPr>
            </a:lvl2pPr>
            <a:lvl3pPr marL="0" indent="0" algn="l">
              <a:buNone/>
              <a:defRPr sz="1600">
                <a:solidFill>
                  <a:srgbClr val="FFFFFF"/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25" name="Title 1">
            <a:extLst>
              <a:ext uri="{FF2B5EF4-FFF2-40B4-BE49-F238E27FC236}">
                <a16:creationId xmlns:a16="http://schemas.microsoft.com/office/drawing/2014/main" id="{6135F81D-3120-4669-8305-5AB7CAA0504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88191" y="1855166"/>
            <a:ext cx="3612689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65388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5" name="Group 4">
            <a:extLst>
              <a:ext uri="{FF2B5EF4-FFF2-40B4-BE49-F238E27FC236}">
                <a16:creationId xmlns:a16="http://schemas.microsoft.com/office/drawing/2014/main" id="{916D9572-5294-4C0A-83C4-99E45F89495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10488" y="5340350"/>
            <a:ext cx="987425" cy="1157288"/>
            <a:chOff x="4857" y="3364"/>
            <a:chExt cx="622" cy="729"/>
          </a:xfrm>
        </p:grpSpPr>
        <p:sp>
          <p:nvSpPr>
            <p:cNvPr id="86" name="AutoShape 3">
              <a:extLst>
                <a:ext uri="{FF2B5EF4-FFF2-40B4-BE49-F238E27FC236}">
                  <a16:creationId xmlns:a16="http://schemas.microsoft.com/office/drawing/2014/main" id="{5667BEF9-3DFA-4239-A852-71BA27EC8E18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7" name="Freeform 5">
              <a:extLst>
                <a:ext uri="{FF2B5EF4-FFF2-40B4-BE49-F238E27FC236}">
                  <a16:creationId xmlns:a16="http://schemas.microsoft.com/office/drawing/2014/main" id="{7E85CBCB-BA9A-4374-A431-F4DC5F8079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8" name="Freeform 6">
              <a:extLst>
                <a:ext uri="{FF2B5EF4-FFF2-40B4-BE49-F238E27FC236}">
                  <a16:creationId xmlns:a16="http://schemas.microsoft.com/office/drawing/2014/main" id="{5C0EF3BA-6104-4E1B-9F18-E642314A9A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pic>
        <p:nvPicPr>
          <p:cNvPr id="89" name="Picture 88">
            <a:extLst>
              <a:ext uri="{FF2B5EF4-FFF2-40B4-BE49-F238E27FC236}">
                <a16:creationId xmlns:a16="http://schemas.microsoft.com/office/drawing/2014/main" id="{BEA87971-BB0B-4ED2-8AC3-71D5B1159A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777240"/>
            <a:ext cx="6753225" cy="3400425"/>
          </a:xfrm>
          <a:prstGeom prst="rect">
            <a:avLst/>
          </a:prstGeom>
        </p:spPr>
      </p:pic>
      <p:sp>
        <p:nvSpPr>
          <p:cNvPr id="90" name="Subtitle 2">
            <a:extLst>
              <a:ext uri="{FF2B5EF4-FFF2-40B4-BE49-F238E27FC236}">
                <a16:creationId xmlns:a16="http://schemas.microsoft.com/office/drawing/2014/main" id="{D57E11BD-E2D9-41B1-9EF5-FF1EA0B8EB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8191" y="3258529"/>
            <a:ext cx="5943432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FFFFFF"/>
                </a:solidFill>
              </a:defRPr>
            </a:lvl2pPr>
            <a:lvl3pPr marL="0" indent="0" algn="l">
              <a:buNone/>
              <a:defRPr sz="1600">
                <a:solidFill>
                  <a:srgbClr val="FFFFFF"/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91" name="Title 1">
            <a:extLst>
              <a:ext uri="{FF2B5EF4-FFF2-40B4-BE49-F238E27FC236}">
                <a16:creationId xmlns:a16="http://schemas.microsoft.com/office/drawing/2014/main" id="{9E850DE9-7D5E-499B-8FA1-4143F639E0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88191" y="2288083"/>
            <a:ext cx="5943432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92" name="Picture 91">
            <a:extLst>
              <a:ext uri="{FF2B5EF4-FFF2-40B4-BE49-F238E27FC236}">
                <a16:creationId xmlns:a16="http://schemas.microsoft.com/office/drawing/2014/main" id="{620AFF6A-D70F-482C-ACA4-D71330481F1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5914517"/>
            <a:ext cx="3780000" cy="61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99191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1137920"/>
            <a:ext cx="82296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8197805-0689-4503-8125-F783F931714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A6E51E34-1EB7-4B1C-98FB-6275BDA1DEFA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180DED-A206-48B8-8395-C38D75067D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21560" y="6516456"/>
            <a:ext cx="3695465" cy="1800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584CBDA-5400-4C9D-A814-1CE6E3FD4F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1200015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A80CEA2-D107-4E43-B632-8CAB22A8CAC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C6F837B7-EBD9-48EA-B6BD-846832F8F9D1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3FCC4BD-E0C7-4008-8760-F505B7C870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>
                <a:solidFill>
                  <a:srgbClr val="2E2E38"/>
                </a:solidFill>
              </a:rPr>
              <a:t>Анализ вклада отрасли добычи и переработки золота в экономику и социальное развитие Республики Казахстан</a:t>
            </a:r>
            <a:endParaRPr lang="ru-RU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3ED2ADF-C3C7-4D61-8B10-4ED75087C3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6074401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46139" y="1"/>
            <a:ext cx="2997862" cy="615610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558041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1137921"/>
            <a:ext cx="5471882" cy="873760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57201" y="2311401"/>
            <a:ext cx="2683690" cy="3844704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3245392" y="2311402"/>
            <a:ext cx="2683690" cy="1254759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245392" y="4236721"/>
            <a:ext cx="2683690" cy="1944160"/>
          </a:xfrm>
        </p:spPr>
        <p:txBody>
          <a:bodyPr numCol="1"/>
          <a:lstStyle>
            <a:lvl1pPr marL="0" indent="0">
              <a:buNone/>
              <a:defRPr sz="134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5789875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031161-0EF0-4994-BAAC-817AFCD5564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F6B20D10-A697-400B-A854-542BF82B3AF7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4A1A6EA-628B-40CB-AD7E-45CB0B91C2D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099134-47E0-4E77-855E-45C10B9B8B1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0951414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787414" cy="685799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20418" y="294200"/>
            <a:ext cx="6665528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020417" y="1137921"/>
            <a:ext cx="2056091" cy="5018184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293076" y="1137921"/>
            <a:ext cx="2101787" cy="5018184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611431" y="1137922"/>
            <a:ext cx="2075369" cy="2796151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/>
        </p:nvSpPr>
        <p:spPr bwMode="auto">
          <a:xfrm>
            <a:off x="2020418" y="907750"/>
            <a:ext cx="6665528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E1076-97C0-41B2-AAE5-AD919BB2DC2E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41CE0CD2-1BC7-4BA1-A08E-B7C92FB2892B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A40DA20-3A42-4B9D-A853-92BEABFB15B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C6E24F-B7C3-43FD-BF17-E37070A300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62324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1137920"/>
            <a:ext cx="6175841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95E81C-0962-435D-B7CC-E9E7007F1F8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B12AAB14-7230-4334-9F4C-4C950894373C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CDD1B3-89EC-47BA-A26E-D040220115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9ACB01-FCA5-4FE1-B210-29952B46CA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1586806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4463" y="2851522"/>
            <a:ext cx="3334113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699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9" marR="0" lvl="0" indent="-267319" defTabSz="75551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ACF31FF-92C4-4CFE-89C8-231A1B4903B6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952E65B9-9FB0-404F-80BD-DC29D40D53F8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B72E31-AECD-4259-BF90-99398FE128B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DE2F2A-9E13-4DC5-89FE-0719F2B171F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680479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4463" y="2851522"/>
            <a:ext cx="3334113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699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9" marR="0" lvl="0" indent="-267319" defTabSz="75551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B824A25-AAE3-42CE-906A-12D97307C1F3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08815AE3-6CCB-41D1-8D44-6AD1CF1DCD46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DD7A84-5352-4432-83C2-4B3F3BD889A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5019A7-134D-49ED-8707-807B58B2E5D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3855124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67954" y="0"/>
            <a:ext cx="4476046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7135" y="2578743"/>
            <a:ext cx="3401698" cy="1055708"/>
          </a:xfrm>
        </p:spPr>
        <p:txBody>
          <a:bodyPr/>
          <a:lstStyle>
            <a:lvl1pPr marL="0" indent="0">
              <a:buNone/>
              <a:defRPr sz="2249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77135" y="3840384"/>
            <a:ext cx="3401698" cy="1055708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IN" dirty="0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DA49F8-A774-4DD1-8745-65E01AB0472C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20635FD7-46A2-483F-AAF1-D51112FCDBC7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4C0F4CC-50C9-4C20-A16A-91535919DC9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53C557-8F9C-4613-8095-373D3EE8052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616363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46139" y="1"/>
            <a:ext cx="2997862" cy="615610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558041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1137921"/>
            <a:ext cx="5471882" cy="873760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57201" y="2311401"/>
            <a:ext cx="2683690" cy="3844704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3245392" y="2311402"/>
            <a:ext cx="2683690" cy="1254759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245392" y="4236721"/>
            <a:ext cx="2683690" cy="1944160"/>
          </a:xfrm>
        </p:spPr>
        <p:txBody>
          <a:bodyPr numCol="1"/>
          <a:lstStyle>
            <a:lvl1pPr marL="0" indent="0">
              <a:buNone/>
              <a:defRPr sz="134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Quote</a:t>
            </a:r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229C318B-FAE0-4A50-A714-607EF622AFB9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1" y="907750"/>
            <a:ext cx="559340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19BF30-77AC-4AB5-8632-BF71395C23E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2008048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6F540DE7-6ABE-4EA2-BD12-3565F2440087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54475C-10CE-4EB1-B9D2-1AD083DB73E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59A6C31-E14E-4A28-A9E9-2D347271C86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57201" y="6516456"/>
            <a:ext cx="663066" cy="180000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Стр.</a:t>
            </a:r>
            <a:r>
              <a:rPr lang="en-GB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8898165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457200" y="1137921"/>
            <a:ext cx="3716193" cy="4267457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41864" y="3813288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1864" y="4055931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89866" y="1137921"/>
            <a:ext cx="409693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89866" y="1635009"/>
            <a:ext cx="4096935" cy="1611554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US" dirty="0"/>
              <a:t>Content EY Interstate Light, 12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17" name="Picture Placeholder 19">
            <a:extLst>
              <a:ext uri="{FF2B5EF4-FFF2-40B4-BE49-F238E27FC236}">
                <a16:creationId xmlns:a16="http://schemas.microsoft.com/office/drawing/2014/main" id="{70E81591-07D5-438D-AAD4-4B9A889F448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589864" y="3578084"/>
            <a:ext cx="777600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5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B440ECC-CB43-49D3-ABF3-A5F4F308E7E2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2E1E7703-9B73-45A3-97A2-BA84F5E3CBE6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4279E38-5A0D-4584-B4BB-113C1A4C50C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3F8B89-1ED7-4BD8-90B0-47F3DF32AD7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2925083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4">
            <a:extLst>
              <a:ext uri="{FF2B5EF4-FFF2-40B4-BE49-F238E27FC236}">
                <a16:creationId xmlns:a16="http://schemas.microsoft.com/office/drawing/2014/main" id="{54B0064F-CA12-4F8F-B694-23C41AD0F16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284464" y="6327648"/>
            <a:ext cx="402336" cy="412867"/>
            <a:chOff x="7110" y="4004"/>
            <a:chExt cx="191" cy="196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F93F004B-02B9-4455-A020-115CFB37BE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19F4E2CA-BA89-47F8-8C68-7CACFBAF82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32993525-96BF-457D-86C8-A5E217C20B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6" name="Date Placeholder 2">
            <a:extLst>
              <a:ext uri="{FF2B5EF4-FFF2-40B4-BE49-F238E27FC236}">
                <a16:creationId xmlns:a16="http://schemas.microsoft.com/office/drawing/2014/main" id="{D8973D65-036E-4D65-AAA3-1427C4AA0C9B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B6DDBB2-BBB3-472C-9487-2B266F3313DA}" type="datetime3">
              <a:rPr lang="en-US" smtClean="0"/>
              <a:t>18 October 2021</a:t>
            </a:fld>
            <a:endParaRPr lang="en-US" dirty="0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9711A3A-DB5C-4C5F-BF5A-7DBDD6EFF607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3321561" y="6516456"/>
            <a:ext cx="30861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40A4236-AC64-456A-B3F9-BED41065570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363093" y="6516456"/>
            <a:ext cx="663066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8719480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F607F99-5C2B-4FC6-A3DF-23E011C842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4464" y="6327648"/>
            <a:ext cx="402504" cy="411480"/>
          </a:xfrm>
          <a:prstGeom prst="rect">
            <a:avLst/>
          </a:prstGeom>
        </p:spPr>
      </p:pic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8FBE9395-9BF1-4306-9F29-1F8E92C9F8DB}"/>
              </a:ext>
            </a:extLst>
          </p:cNvPr>
          <p:cNvSpPr txBox="1">
            <a:spLocks/>
          </p:cNvSpPr>
          <p:nvPr userDrawn="1"/>
        </p:nvSpPr>
        <p:spPr>
          <a:xfrm>
            <a:off x="3757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200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87DD12F9-AC78-4784-A2C0-5FB6EC5A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1750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3BB2527F-4DCE-4CB5-A96D-2E432FD5A07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1750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Name Surnam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7DFFB3C-E689-440E-8EDB-465853B3460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1750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Job Title</a:t>
            </a:r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09667CEE-F273-4416-9D45-A0E825F14911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284464" y="6327648"/>
            <a:ext cx="402336" cy="412867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3F5A26-EE33-4654-ACA2-880B36B275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325D6EF1-9951-4386-9E98-24FDBF5827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572CC147-C47E-4B17-9D76-D39D3C36CE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8007291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BD7B1EAA-D62E-426F-9D29-F674CEB29C3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26000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 algn="ctr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C43D8C34-69FC-4DEE-BC95-D2F629475EB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26000" y="551683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78FCBB-C01D-4FF8-828E-0E27552CA9C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926000" y="582887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Job Titl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0AD41D48-C813-4F78-A2C8-0758D2B7DC18}"/>
              </a:ext>
            </a:extLst>
          </p:cNvPr>
          <p:cNvSpPr txBox="1">
            <a:spLocks/>
          </p:cNvSpPr>
          <p:nvPr userDrawn="1"/>
        </p:nvSpPr>
        <p:spPr>
          <a:xfrm>
            <a:off x="3402806" y="979787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200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FF60CB08-2DD7-4911-8D80-BCAC7944540B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284464" y="6327648"/>
            <a:ext cx="402336" cy="412867"/>
            <a:chOff x="7110" y="4004"/>
            <a:chExt cx="191" cy="196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C7E6D8E8-E311-4EB7-AFAA-50963EA7B1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53EFA7D4-C8AD-4C58-A0EE-C2B700393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E459CDB2-C2F0-4E1A-AC90-F93C856AA5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356158294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1137920"/>
            <a:ext cx="6175841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67319">
              <a:defRPr>
                <a:solidFill>
                  <a:schemeClr val="bg1"/>
                </a:solidFill>
              </a:defRPr>
            </a:lvl2pPr>
            <a:lvl3pPr marL="534639">
              <a:defRPr>
                <a:solidFill>
                  <a:schemeClr val="bg1"/>
                </a:solidFill>
              </a:defRPr>
            </a:lvl3pPr>
            <a:lvl4pPr marL="801958">
              <a:defRPr>
                <a:solidFill>
                  <a:schemeClr val="bg1"/>
                </a:solidFill>
              </a:defRPr>
            </a:lvl4pPr>
            <a:lvl5pPr marL="1069277"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BF0A34-C36D-461B-A015-21A5DA63B59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1F3AE9DE-0212-406F-B77A-66469DEE5C5B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ECF0E1-C505-48F8-AD92-7D8685FF48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682A11-B39D-4FE0-A53D-0F1661DE05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0430084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03DAEA1-6A90-4FC2-97C7-E8CE0391435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CE1AD896-7F6C-49DE-B623-A072D4E5C92C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B819100-2154-4CEF-A4AE-869A873311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B93803-CB8A-4830-8E96-5C407868A0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1209298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1" y="1137919"/>
            <a:ext cx="4038600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1" y="1137919"/>
            <a:ext cx="4038600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E1BDE01-7D08-4922-9259-4581BC33C3E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4A65485A-6295-43C4-A376-B189DE4F172B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29C6724-47E1-45B5-B455-099BFD53BB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8340A57-5875-43E6-BEEA-8CEBCDCA30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812616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9247" y="1869441"/>
            <a:ext cx="4042800" cy="4256075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7304" y="1869441"/>
            <a:ext cx="4042800" cy="4256075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1" y="1137920"/>
            <a:ext cx="40428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47304" y="1137920"/>
            <a:ext cx="40428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907750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FCA5F9A-0842-4BED-A447-9C3F6915DCDD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61145479-735B-4A7F-AE02-A190CB167416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8AD82-A588-4EFB-A956-62AC671AB8A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F77DB56-43F3-4932-8420-FA767EBAB47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6803672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B7547C-9236-44B2-927D-EE1C7DF06D3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A7CFAFB6-D9FC-4976-8093-BCF85BF59827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E2AC0F-F4F4-46F1-8E38-470CA2132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B301A4-CE65-4914-B017-DED28C2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1158442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3A9D79-13D5-4189-B325-32C1E30071D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00DEBD18-1848-45F4-8FB7-19EB38D4EEEB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690CD3-106E-4E37-A338-7D12BDB87E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97AA2E-8C14-46B6-80A1-837B7775D6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276505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787414" cy="685799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20418" y="294200"/>
            <a:ext cx="6665528" cy="590400"/>
          </a:xfrm>
        </p:spPr>
        <p:txBody>
          <a:bodyPr/>
          <a:lstStyle>
            <a:lvl1pPr>
              <a:defRPr sz="17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020417" y="1137921"/>
            <a:ext cx="2056091" cy="5018184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293076" y="1137921"/>
            <a:ext cx="2101787" cy="5018184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611431" y="1137922"/>
            <a:ext cx="2075369" cy="2796151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FD13F91-AFC9-4CB0-B48E-B4031BDF7D7E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611431" y="1137922"/>
            <a:ext cx="2075369" cy="2796151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58BEC6-81BD-4A6C-A6CF-94332742F93B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008048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EBA89F13-285C-4AA6-B450-E34E1D7536B8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661FBF-9B0D-493C-BE46-3C702E0F65A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1C1F439-4CB5-472E-B792-D16C6415352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457201" y="6516456"/>
            <a:ext cx="663066" cy="180000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Стр.</a:t>
            </a:r>
            <a:r>
              <a:rPr lang="en-GB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4160084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813CB0-F911-4F63-ADF4-31E748E46E9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AB6F908F-1CA4-4B8D-AE41-E00978511C81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E00D68-E42E-4E18-97BC-09F3CC3C71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09C18C-4659-4936-9B48-47D9169929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121965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1F7CA26-2B7B-4622-93A8-93EC10CCBE9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4D9DC3B2-5C49-43FF-BDCE-E0780807F8FB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0E24E25-AADE-42B5-BB07-A8C5FC7FBF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9B93A4-EF49-4605-8E7D-22AB1304F1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A3678118-FB9F-46C1-A6F2-3E42EC5536B0}"/>
              </a:ext>
            </a:extLst>
          </p:cNvPr>
          <p:cNvSpPr>
            <a:spLocks/>
          </p:cNvSpPr>
          <p:nvPr userDrawn="1"/>
        </p:nvSpPr>
        <p:spPr bwMode="gray">
          <a:xfrm>
            <a:off x="457200" y="1039815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6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1D46014-541B-4C37-8BD9-33F3A3BE76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639772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58AD78-6C49-405F-80BD-8F5F9CFAD79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4E6F21B6-62F2-4BD4-971E-02802412302F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A3A6C55-F277-42AF-8500-E16F039B9A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368E36-B58F-4FD6-B92E-04754A1D83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2027653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9144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E480A10-F3A8-4482-9A96-E4A2985059D6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895545A9-796F-483D-B9BB-75FAAF35717E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D942338-84D5-44C7-ADEC-04C9C56CF23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AC4917-7B6B-475D-AAE6-8F714438F25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2893644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719139"/>
            <a:ext cx="3506400" cy="5210062"/>
          </a:xfrm>
        </p:spPr>
        <p:txBody>
          <a:bodyPr/>
          <a:lstStyle>
            <a:lvl1pPr marL="0" indent="0" algn="l" defTabSz="746124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9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32089" indent="-13208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41609" indent="-14160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1017697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069022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67954" y="0"/>
            <a:ext cx="4476046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1936" y="2050889"/>
            <a:ext cx="3401698" cy="1055708"/>
          </a:xfrm>
        </p:spPr>
        <p:txBody>
          <a:bodyPr/>
          <a:lstStyle>
            <a:lvl1pPr marL="0" indent="0">
              <a:buNone/>
              <a:defRPr sz="2249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1936" y="3312530"/>
            <a:ext cx="3401698" cy="1055708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IN" dirty="0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E59B594-94BE-43F4-8A51-56A02D3520A9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E67EBACB-7DE7-4A3D-9C8E-446C1FB5066F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3D76FF3-5668-471F-96BC-86222958B48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C144E7-F1A6-43D5-9337-069D87B113F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8846088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064" y="2504281"/>
            <a:ext cx="3334113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6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9" marR="0" lvl="0" indent="-267319" defTabSz="75551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42413CE-C4D0-4ABD-A496-80941F07BDB0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45C4ED83-5DB4-4FDB-BE7B-86CB4AA9CAD5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6AF2A22-94A3-41BF-9F87-44E3FEF33B4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5C79A1-12F2-4F8B-A8F3-F46D58F4CB3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7843000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787414" cy="6857999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20418" y="294200"/>
            <a:ext cx="6665528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020417" y="1137921"/>
            <a:ext cx="2056091" cy="5018184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293076" y="1137921"/>
            <a:ext cx="2101787" cy="5018184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6611431" y="1137922"/>
            <a:ext cx="2075369" cy="2796151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7" name="Line 10">
            <a:extLst>
              <a:ext uri="{FF2B5EF4-FFF2-40B4-BE49-F238E27FC236}">
                <a16:creationId xmlns:a16="http://schemas.microsoft.com/office/drawing/2014/main" id="{1FE654FB-261F-44E5-8EF9-237DB835D71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023353" y="907750"/>
            <a:ext cx="669263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3AD698-0E41-4FCF-AB31-51B8D1AE402F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/>
          <a:lstStyle/>
          <a:p>
            <a:fld id="{A6858D0F-4E25-4AA5-87C8-D3901347F101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9018413-4A60-4C02-9E4A-E0257623113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74983C1-0EF4-4B2C-97F2-6888EAEE5D8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457201" y="6516456"/>
            <a:ext cx="663066" cy="180000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Стр.</a:t>
            </a:r>
            <a:r>
              <a:rPr lang="en-GB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2063844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9C0DD7D-5B2C-4539-8FE2-07617C2EF1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0851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9C0DD7D-5B2C-4539-8FE2-07617C2EF1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128D225-A95C-4182-BE44-3E9027AF283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ru-RU" sz="3000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945AD81-9D09-493D-94B8-1CAA625F68C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0361" y="5340096"/>
            <a:ext cx="987552" cy="1156968"/>
          </a:xfrm>
          <a:prstGeom prst="rect">
            <a:avLst/>
          </a:prstGeom>
        </p:spPr>
      </p:pic>
      <p:sp>
        <p:nvSpPr>
          <p:cNvPr id="7" name="Freeform 5">
            <a:extLst>
              <a:ext uri="{FF2B5EF4-FFF2-40B4-BE49-F238E27FC236}">
                <a16:creationId xmlns:a16="http://schemas.microsoft.com/office/drawing/2014/main" id="{B7F2A12E-7729-47A0-BC4C-937A569C1503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70054" y="457199"/>
            <a:ext cx="4507059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306FE6B-2888-42EC-9409-22E0C44C3E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6326" y="1476597"/>
            <a:ext cx="4064949" cy="860400"/>
          </a:xfrm>
        </p:spPr>
        <p:txBody>
          <a:bodyPr/>
          <a:lstStyle>
            <a:lvl1pPr>
              <a:defRPr sz="3000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ru-RU"/>
              <a:t>Стимулирование развития золотодобывающей отрасли Казахстана</a:t>
            </a:r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2FC3DF6-2861-4293-9E33-F3E405EF9F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6325" y="3337832"/>
            <a:ext cx="4064949" cy="3912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 b="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ru-RU">
                <a:solidFill>
                  <a:schemeClr val="bg1"/>
                </a:solidFill>
              </a:rPr>
              <a:t>Август, 2020</a:t>
            </a:r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55975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2.w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3.xml"/><Relationship Id="rId13" Type="http://schemas.openxmlformats.org/officeDocument/2006/relationships/slideLayout" Target="../slideLayouts/slideLayout308.xml"/><Relationship Id="rId18" Type="http://schemas.openxmlformats.org/officeDocument/2006/relationships/slideLayout" Target="../slideLayouts/slideLayout313.xml"/><Relationship Id="rId26" Type="http://schemas.openxmlformats.org/officeDocument/2006/relationships/slideLayout" Target="../slideLayouts/slideLayout321.xml"/><Relationship Id="rId39" Type="http://schemas.openxmlformats.org/officeDocument/2006/relationships/image" Target="../media/image1.emf"/><Relationship Id="rId3" Type="http://schemas.openxmlformats.org/officeDocument/2006/relationships/slideLayout" Target="../slideLayouts/slideLayout298.xml"/><Relationship Id="rId21" Type="http://schemas.openxmlformats.org/officeDocument/2006/relationships/slideLayout" Target="../slideLayouts/slideLayout316.xml"/><Relationship Id="rId34" Type="http://schemas.openxmlformats.org/officeDocument/2006/relationships/theme" Target="../theme/theme10.xml"/><Relationship Id="rId7" Type="http://schemas.openxmlformats.org/officeDocument/2006/relationships/slideLayout" Target="../slideLayouts/slideLayout302.xml"/><Relationship Id="rId12" Type="http://schemas.openxmlformats.org/officeDocument/2006/relationships/slideLayout" Target="../slideLayouts/slideLayout307.xml"/><Relationship Id="rId17" Type="http://schemas.openxmlformats.org/officeDocument/2006/relationships/slideLayout" Target="../slideLayouts/slideLayout312.xml"/><Relationship Id="rId25" Type="http://schemas.openxmlformats.org/officeDocument/2006/relationships/slideLayout" Target="../slideLayouts/slideLayout320.xml"/><Relationship Id="rId33" Type="http://schemas.openxmlformats.org/officeDocument/2006/relationships/slideLayout" Target="../slideLayouts/slideLayout328.xml"/><Relationship Id="rId38" Type="http://schemas.openxmlformats.org/officeDocument/2006/relationships/oleObject" Target="../embeddings/oleObject19.bin"/><Relationship Id="rId2" Type="http://schemas.openxmlformats.org/officeDocument/2006/relationships/slideLayout" Target="../slideLayouts/slideLayout297.xml"/><Relationship Id="rId16" Type="http://schemas.openxmlformats.org/officeDocument/2006/relationships/slideLayout" Target="../slideLayouts/slideLayout311.xml"/><Relationship Id="rId20" Type="http://schemas.openxmlformats.org/officeDocument/2006/relationships/slideLayout" Target="../slideLayouts/slideLayout315.xml"/><Relationship Id="rId29" Type="http://schemas.openxmlformats.org/officeDocument/2006/relationships/slideLayout" Target="../slideLayouts/slideLayout324.xml"/><Relationship Id="rId1" Type="http://schemas.openxmlformats.org/officeDocument/2006/relationships/slideLayout" Target="../slideLayouts/slideLayout296.xml"/><Relationship Id="rId6" Type="http://schemas.openxmlformats.org/officeDocument/2006/relationships/slideLayout" Target="../slideLayouts/slideLayout301.xml"/><Relationship Id="rId11" Type="http://schemas.openxmlformats.org/officeDocument/2006/relationships/slideLayout" Target="../slideLayouts/slideLayout306.xml"/><Relationship Id="rId24" Type="http://schemas.openxmlformats.org/officeDocument/2006/relationships/slideLayout" Target="../slideLayouts/slideLayout319.xml"/><Relationship Id="rId32" Type="http://schemas.openxmlformats.org/officeDocument/2006/relationships/slideLayout" Target="../slideLayouts/slideLayout327.xml"/><Relationship Id="rId37" Type="http://schemas.openxmlformats.org/officeDocument/2006/relationships/tags" Target="../tags/tag38.xml"/><Relationship Id="rId5" Type="http://schemas.openxmlformats.org/officeDocument/2006/relationships/slideLayout" Target="../slideLayouts/slideLayout300.xml"/><Relationship Id="rId15" Type="http://schemas.openxmlformats.org/officeDocument/2006/relationships/slideLayout" Target="../slideLayouts/slideLayout310.xml"/><Relationship Id="rId23" Type="http://schemas.openxmlformats.org/officeDocument/2006/relationships/slideLayout" Target="../slideLayouts/slideLayout318.xml"/><Relationship Id="rId28" Type="http://schemas.openxmlformats.org/officeDocument/2006/relationships/slideLayout" Target="../slideLayouts/slideLayout323.xml"/><Relationship Id="rId36" Type="http://schemas.openxmlformats.org/officeDocument/2006/relationships/tags" Target="../tags/tag37.xml"/><Relationship Id="rId10" Type="http://schemas.openxmlformats.org/officeDocument/2006/relationships/slideLayout" Target="../slideLayouts/slideLayout305.xml"/><Relationship Id="rId19" Type="http://schemas.openxmlformats.org/officeDocument/2006/relationships/slideLayout" Target="../slideLayouts/slideLayout314.xml"/><Relationship Id="rId31" Type="http://schemas.openxmlformats.org/officeDocument/2006/relationships/slideLayout" Target="../slideLayouts/slideLayout326.xml"/><Relationship Id="rId4" Type="http://schemas.openxmlformats.org/officeDocument/2006/relationships/slideLayout" Target="../slideLayouts/slideLayout299.xml"/><Relationship Id="rId9" Type="http://schemas.openxmlformats.org/officeDocument/2006/relationships/slideLayout" Target="../slideLayouts/slideLayout304.xml"/><Relationship Id="rId14" Type="http://schemas.openxmlformats.org/officeDocument/2006/relationships/slideLayout" Target="../slideLayouts/slideLayout309.xml"/><Relationship Id="rId22" Type="http://schemas.openxmlformats.org/officeDocument/2006/relationships/slideLayout" Target="../slideLayouts/slideLayout317.xml"/><Relationship Id="rId27" Type="http://schemas.openxmlformats.org/officeDocument/2006/relationships/slideLayout" Target="../slideLayouts/slideLayout322.xml"/><Relationship Id="rId30" Type="http://schemas.openxmlformats.org/officeDocument/2006/relationships/slideLayout" Target="../slideLayouts/slideLayout325.xml"/><Relationship Id="rId35" Type="http://schemas.openxmlformats.org/officeDocument/2006/relationships/vmlDrawing" Target="../drawings/vmlDrawing19.v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6.xml"/><Relationship Id="rId13" Type="http://schemas.openxmlformats.org/officeDocument/2006/relationships/slideLayout" Target="../slideLayouts/slideLayout341.xml"/><Relationship Id="rId18" Type="http://schemas.openxmlformats.org/officeDocument/2006/relationships/slideLayout" Target="../slideLayouts/slideLayout346.xml"/><Relationship Id="rId26" Type="http://schemas.openxmlformats.org/officeDocument/2006/relationships/slideLayout" Target="../slideLayouts/slideLayout354.xml"/><Relationship Id="rId39" Type="http://schemas.openxmlformats.org/officeDocument/2006/relationships/oleObject" Target="../embeddings/oleObject21.bin"/><Relationship Id="rId3" Type="http://schemas.openxmlformats.org/officeDocument/2006/relationships/slideLayout" Target="../slideLayouts/slideLayout331.xml"/><Relationship Id="rId21" Type="http://schemas.openxmlformats.org/officeDocument/2006/relationships/slideLayout" Target="../slideLayouts/slideLayout349.xml"/><Relationship Id="rId34" Type="http://schemas.openxmlformats.org/officeDocument/2006/relationships/slideLayout" Target="../slideLayouts/slideLayout362.xml"/><Relationship Id="rId7" Type="http://schemas.openxmlformats.org/officeDocument/2006/relationships/slideLayout" Target="../slideLayouts/slideLayout335.xml"/><Relationship Id="rId12" Type="http://schemas.openxmlformats.org/officeDocument/2006/relationships/slideLayout" Target="../slideLayouts/slideLayout340.xml"/><Relationship Id="rId17" Type="http://schemas.openxmlformats.org/officeDocument/2006/relationships/slideLayout" Target="../slideLayouts/slideLayout345.xml"/><Relationship Id="rId25" Type="http://schemas.openxmlformats.org/officeDocument/2006/relationships/slideLayout" Target="../slideLayouts/slideLayout353.xml"/><Relationship Id="rId33" Type="http://schemas.openxmlformats.org/officeDocument/2006/relationships/slideLayout" Target="../slideLayouts/slideLayout361.xml"/><Relationship Id="rId38" Type="http://schemas.openxmlformats.org/officeDocument/2006/relationships/tags" Target="../tags/tag42.xml"/><Relationship Id="rId2" Type="http://schemas.openxmlformats.org/officeDocument/2006/relationships/slideLayout" Target="../slideLayouts/slideLayout330.xml"/><Relationship Id="rId16" Type="http://schemas.openxmlformats.org/officeDocument/2006/relationships/slideLayout" Target="../slideLayouts/slideLayout344.xml"/><Relationship Id="rId20" Type="http://schemas.openxmlformats.org/officeDocument/2006/relationships/slideLayout" Target="../slideLayouts/slideLayout348.xml"/><Relationship Id="rId29" Type="http://schemas.openxmlformats.org/officeDocument/2006/relationships/slideLayout" Target="../slideLayouts/slideLayout357.xml"/><Relationship Id="rId1" Type="http://schemas.openxmlformats.org/officeDocument/2006/relationships/slideLayout" Target="../slideLayouts/slideLayout329.xml"/><Relationship Id="rId6" Type="http://schemas.openxmlformats.org/officeDocument/2006/relationships/slideLayout" Target="../slideLayouts/slideLayout334.xml"/><Relationship Id="rId11" Type="http://schemas.openxmlformats.org/officeDocument/2006/relationships/slideLayout" Target="../slideLayouts/slideLayout339.xml"/><Relationship Id="rId24" Type="http://schemas.openxmlformats.org/officeDocument/2006/relationships/slideLayout" Target="../slideLayouts/slideLayout352.xml"/><Relationship Id="rId32" Type="http://schemas.openxmlformats.org/officeDocument/2006/relationships/slideLayout" Target="../slideLayouts/slideLayout360.xml"/><Relationship Id="rId37" Type="http://schemas.openxmlformats.org/officeDocument/2006/relationships/tags" Target="../tags/tag41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333.xml"/><Relationship Id="rId15" Type="http://schemas.openxmlformats.org/officeDocument/2006/relationships/slideLayout" Target="../slideLayouts/slideLayout343.xml"/><Relationship Id="rId23" Type="http://schemas.openxmlformats.org/officeDocument/2006/relationships/slideLayout" Target="../slideLayouts/slideLayout351.xml"/><Relationship Id="rId28" Type="http://schemas.openxmlformats.org/officeDocument/2006/relationships/slideLayout" Target="../slideLayouts/slideLayout356.xml"/><Relationship Id="rId36" Type="http://schemas.openxmlformats.org/officeDocument/2006/relationships/vmlDrawing" Target="../drawings/vmlDrawing21.vml"/><Relationship Id="rId10" Type="http://schemas.openxmlformats.org/officeDocument/2006/relationships/slideLayout" Target="../slideLayouts/slideLayout338.xml"/><Relationship Id="rId19" Type="http://schemas.openxmlformats.org/officeDocument/2006/relationships/slideLayout" Target="../slideLayouts/slideLayout347.xml"/><Relationship Id="rId31" Type="http://schemas.openxmlformats.org/officeDocument/2006/relationships/slideLayout" Target="../slideLayouts/slideLayout359.xml"/><Relationship Id="rId4" Type="http://schemas.openxmlformats.org/officeDocument/2006/relationships/slideLayout" Target="../slideLayouts/slideLayout332.xml"/><Relationship Id="rId9" Type="http://schemas.openxmlformats.org/officeDocument/2006/relationships/slideLayout" Target="../slideLayouts/slideLayout337.xml"/><Relationship Id="rId14" Type="http://schemas.openxmlformats.org/officeDocument/2006/relationships/slideLayout" Target="../slideLayouts/slideLayout342.xml"/><Relationship Id="rId22" Type="http://schemas.openxmlformats.org/officeDocument/2006/relationships/slideLayout" Target="../slideLayouts/slideLayout350.xml"/><Relationship Id="rId27" Type="http://schemas.openxmlformats.org/officeDocument/2006/relationships/slideLayout" Target="../slideLayouts/slideLayout355.xml"/><Relationship Id="rId30" Type="http://schemas.openxmlformats.org/officeDocument/2006/relationships/slideLayout" Target="../slideLayouts/slideLayout358.xml"/><Relationship Id="rId35" Type="http://schemas.openxmlformats.org/officeDocument/2006/relationships/theme" Target="../theme/theme1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26" Type="http://schemas.openxmlformats.org/officeDocument/2006/relationships/slideLayout" Target="../slideLayouts/slideLayout58.xml"/><Relationship Id="rId39" Type="http://schemas.openxmlformats.org/officeDocument/2006/relationships/image" Target="../media/image1.emf"/><Relationship Id="rId3" Type="http://schemas.openxmlformats.org/officeDocument/2006/relationships/slideLayout" Target="../slideLayouts/slideLayout35.xml"/><Relationship Id="rId21" Type="http://schemas.openxmlformats.org/officeDocument/2006/relationships/slideLayout" Target="../slideLayouts/slideLayout53.xml"/><Relationship Id="rId34" Type="http://schemas.openxmlformats.org/officeDocument/2006/relationships/theme" Target="../theme/theme2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5" Type="http://schemas.openxmlformats.org/officeDocument/2006/relationships/slideLayout" Target="../slideLayouts/slideLayout57.xml"/><Relationship Id="rId33" Type="http://schemas.openxmlformats.org/officeDocument/2006/relationships/slideLayout" Target="../slideLayouts/slideLayout65.xml"/><Relationship Id="rId38" Type="http://schemas.openxmlformats.org/officeDocument/2006/relationships/oleObject" Target="../embeddings/oleObject2.bin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29" Type="http://schemas.openxmlformats.org/officeDocument/2006/relationships/slideLayout" Target="../slideLayouts/slideLayout61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slideLayout" Target="../slideLayouts/slideLayout56.xml"/><Relationship Id="rId32" Type="http://schemas.openxmlformats.org/officeDocument/2006/relationships/slideLayout" Target="../slideLayouts/slideLayout64.xml"/><Relationship Id="rId37" Type="http://schemas.openxmlformats.org/officeDocument/2006/relationships/tags" Target="../tags/tag5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slideLayout" Target="../slideLayouts/slideLayout55.xml"/><Relationship Id="rId28" Type="http://schemas.openxmlformats.org/officeDocument/2006/relationships/slideLayout" Target="../slideLayouts/slideLayout60.xml"/><Relationship Id="rId36" Type="http://schemas.openxmlformats.org/officeDocument/2006/relationships/tags" Target="../tags/tag4.xml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31" Type="http://schemas.openxmlformats.org/officeDocument/2006/relationships/slideLayout" Target="../slideLayouts/slideLayout63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slideLayout" Target="../slideLayouts/slideLayout54.xml"/><Relationship Id="rId27" Type="http://schemas.openxmlformats.org/officeDocument/2006/relationships/slideLayout" Target="../slideLayouts/slideLayout59.xml"/><Relationship Id="rId30" Type="http://schemas.openxmlformats.org/officeDocument/2006/relationships/slideLayout" Target="../slideLayouts/slideLayout62.xml"/><Relationship Id="rId35" Type="http://schemas.openxmlformats.org/officeDocument/2006/relationships/vmlDrawing" Target="../drawings/vmlDrawing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slideLayout" Target="../slideLayouts/slideLayout78.xml"/><Relationship Id="rId18" Type="http://schemas.openxmlformats.org/officeDocument/2006/relationships/slideLayout" Target="../slideLayouts/slideLayout83.xml"/><Relationship Id="rId26" Type="http://schemas.openxmlformats.org/officeDocument/2006/relationships/slideLayout" Target="../slideLayouts/slideLayout91.xml"/><Relationship Id="rId39" Type="http://schemas.openxmlformats.org/officeDocument/2006/relationships/image" Target="../media/image1.emf"/><Relationship Id="rId3" Type="http://schemas.openxmlformats.org/officeDocument/2006/relationships/slideLayout" Target="../slideLayouts/slideLayout68.xml"/><Relationship Id="rId21" Type="http://schemas.openxmlformats.org/officeDocument/2006/relationships/slideLayout" Target="../slideLayouts/slideLayout86.xml"/><Relationship Id="rId34" Type="http://schemas.openxmlformats.org/officeDocument/2006/relationships/theme" Target="../theme/theme3.xml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17" Type="http://schemas.openxmlformats.org/officeDocument/2006/relationships/slideLayout" Target="../slideLayouts/slideLayout82.xml"/><Relationship Id="rId25" Type="http://schemas.openxmlformats.org/officeDocument/2006/relationships/slideLayout" Target="../slideLayouts/slideLayout90.xml"/><Relationship Id="rId33" Type="http://schemas.openxmlformats.org/officeDocument/2006/relationships/slideLayout" Target="../slideLayouts/slideLayout98.xml"/><Relationship Id="rId38" Type="http://schemas.openxmlformats.org/officeDocument/2006/relationships/oleObject" Target="../embeddings/oleObject5.bin"/><Relationship Id="rId2" Type="http://schemas.openxmlformats.org/officeDocument/2006/relationships/slideLayout" Target="../slideLayouts/slideLayout67.xml"/><Relationship Id="rId16" Type="http://schemas.openxmlformats.org/officeDocument/2006/relationships/slideLayout" Target="../slideLayouts/slideLayout81.xml"/><Relationship Id="rId20" Type="http://schemas.openxmlformats.org/officeDocument/2006/relationships/slideLayout" Target="../slideLayouts/slideLayout85.xml"/><Relationship Id="rId29" Type="http://schemas.openxmlformats.org/officeDocument/2006/relationships/slideLayout" Target="../slideLayouts/slideLayout94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24" Type="http://schemas.openxmlformats.org/officeDocument/2006/relationships/slideLayout" Target="../slideLayouts/slideLayout89.xml"/><Relationship Id="rId32" Type="http://schemas.openxmlformats.org/officeDocument/2006/relationships/slideLayout" Target="../slideLayouts/slideLayout97.xml"/><Relationship Id="rId37" Type="http://schemas.openxmlformats.org/officeDocument/2006/relationships/tags" Target="../tags/tag10.xml"/><Relationship Id="rId5" Type="http://schemas.openxmlformats.org/officeDocument/2006/relationships/slideLayout" Target="../slideLayouts/slideLayout70.xml"/><Relationship Id="rId15" Type="http://schemas.openxmlformats.org/officeDocument/2006/relationships/slideLayout" Target="../slideLayouts/slideLayout80.xml"/><Relationship Id="rId23" Type="http://schemas.openxmlformats.org/officeDocument/2006/relationships/slideLayout" Target="../slideLayouts/slideLayout88.xml"/><Relationship Id="rId28" Type="http://schemas.openxmlformats.org/officeDocument/2006/relationships/slideLayout" Target="../slideLayouts/slideLayout93.xml"/><Relationship Id="rId36" Type="http://schemas.openxmlformats.org/officeDocument/2006/relationships/tags" Target="../tags/tag9.xml"/><Relationship Id="rId10" Type="http://schemas.openxmlformats.org/officeDocument/2006/relationships/slideLayout" Target="../slideLayouts/slideLayout75.xml"/><Relationship Id="rId19" Type="http://schemas.openxmlformats.org/officeDocument/2006/relationships/slideLayout" Target="../slideLayouts/slideLayout84.xml"/><Relationship Id="rId31" Type="http://schemas.openxmlformats.org/officeDocument/2006/relationships/slideLayout" Target="../slideLayouts/slideLayout96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slideLayout" Target="../slideLayouts/slideLayout79.xml"/><Relationship Id="rId22" Type="http://schemas.openxmlformats.org/officeDocument/2006/relationships/slideLayout" Target="../slideLayouts/slideLayout87.xml"/><Relationship Id="rId27" Type="http://schemas.openxmlformats.org/officeDocument/2006/relationships/slideLayout" Target="../slideLayouts/slideLayout92.xml"/><Relationship Id="rId30" Type="http://schemas.openxmlformats.org/officeDocument/2006/relationships/slideLayout" Target="../slideLayouts/slideLayout95.xml"/><Relationship Id="rId35" Type="http://schemas.openxmlformats.org/officeDocument/2006/relationships/vmlDrawing" Target="../drawings/vmlDrawing5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.xml"/><Relationship Id="rId13" Type="http://schemas.openxmlformats.org/officeDocument/2006/relationships/slideLayout" Target="../slideLayouts/slideLayout111.xml"/><Relationship Id="rId18" Type="http://schemas.openxmlformats.org/officeDocument/2006/relationships/slideLayout" Target="../slideLayouts/slideLayout116.xml"/><Relationship Id="rId26" Type="http://schemas.openxmlformats.org/officeDocument/2006/relationships/slideLayout" Target="../slideLayouts/slideLayout124.xml"/><Relationship Id="rId39" Type="http://schemas.openxmlformats.org/officeDocument/2006/relationships/image" Target="../media/image1.emf"/><Relationship Id="rId3" Type="http://schemas.openxmlformats.org/officeDocument/2006/relationships/slideLayout" Target="../slideLayouts/slideLayout101.xml"/><Relationship Id="rId21" Type="http://schemas.openxmlformats.org/officeDocument/2006/relationships/slideLayout" Target="../slideLayouts/slideLayout119.xml"/><Relationship Id="rId34" Type="http://schemas.openxmlformats.org/officeDocument/2006/relationships/theme" Target="../theme/theme4.xml"/><Relationship Id="rId7" Type="http://schemas.openxmlformats.org/officeDocument/2006/relationships/slideLayout" Target="../slideLayouts/slideLayout105.xml"/><Relationship Id="rId12" Type="http://schemas.openxmlformats.org/officeDocument/2006/relationships/slideLayout" Target="../slideLayouts/slideLayout110.xml"/><Relationship Id="rId17" Type="http://schemas.openxmlformats.org/officeDocument/2006/relationships/slideLayout" Target="../slideLayouts/slideLayout115.xml"/><Relationship Id="rId25" Type="http://schemas.openxmlformats.org/officeDocument/2006/relationships/slideLayout" Target="../slideLayouts/slideLayout123.xml"/><Relationship Id="rId33" Type="http://schemas.openxmlformats.org/officeDocument/2006/relationships/slideLayout" Target="../slideLayouts/slideLayout131.xml"/><Relationship Id="rId38" Type="http://schemas.openxmlformats.org/officeDocument/2006/relationships/oleObject" Target="../embeddings/oleObject7.bin"/><Relationship Id="rId2" Type="http://schemas.openxmlformats.org/officeDocument/2006/relationships/slideLayout" Target="../slideLayouts/slideLayout100.xml"/><Relationship Id="rId16" Type="http://schemas.openxmlformats.org/officeDocument/2006/relationships/slideLayout" Target="../slideLayouts/slideLayout114.xml"/><Relationship Id="rId20" Type="http://schemas.openxmlformats.org/officeDocument/2006/relationships/slideLayout" Target="../slideLayouts/slideLayout118.xml"/><Relationship Id="rId29" Type="http://schemas.openxmlformats.org/officeDocument/2006/relationships/slideLayout" Target="../slideLayouts/slideLayout127.xml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11" Type="http://schemas.openxmlformats.org/officeDocument/2006/relationships/slideLayout" Target="../slideLayouts/slideLayout109.xml"/><Relationship Id="rId24" Type="http://schemas.openxmlformats.org/officeDocument/2006/relationships/slideLayout" Target="../slideLayouts/slideLayout122.xml"/><Relationship Id="rId32" Type="http://schemas.openxmlformats.org/officeDocument/2006/relationships/slideLayout" Target="../slideLayouts/slideLayout130.xml"/><Relationship Id="rId37" Type="http://schemas.openxmlformats.org/officeDocument/2006/relationships/tags" Target="../tags/tag14.xml"/><Relationship Id="rId5" Type="http://schemas.openxmlformats.org/officeDocument/2006/relationships/slideLayout" Target="../slideLayouts/slideLayout103.xml"/><Relationship Id="rId15" Type="http://schemas.openxmlformats.org/officeDocument/2006/relationships/slideLayout" Target="../slideLayouts/slideLayout113.xml"/><Relationship Id="rId23" Type="http://schemas.openxmlformats.org/officeDocument/2006/relationships/slideLayout" Target="../slideLayouts/slideLayout121.xml"/><Relationship Id="rId28" Type="http://schemas.openxmlformats.org/officeDocument/2006/relationships/slideLayout" Target="../slideLayouts/slideLayout126.xml"/><Relationship Id="rId36" Type="http://schemas.openxmlformats.org/officeDocument/2006/relationships/tags" Target="../tags/tag13.xml"/><Relationship Id="rId10" Type="http://schemas.openxmlformats.org/officeDocument/2006/relationships/slideLayout" Target="../slideLayouts/slideLayout108.xml"/><Relationship Id="rId19" Type="http://schemas.openxmlformats.org/officeDocument/2006/relationships/slideLayout" Target="../slideLayouts/slideLayout117.xml"/><Relationship Id="rId31" Type="http://schemas.openxmlformats.org/officeDocument/2006/relationships/slideLayout" Target="../slideLayouts/slideLayout129.xml"/><Relationship Id="rId4" Type="http://schemas.openxmlformats.org/officeDocument/2006/relationships/slideLayout" Target="../slideLayouts/slideLayout102.xml"/><Relationship Id="rId9" Type="http://schemas.openxmlformats.org/officeDocument/2006/relationships/slideLayout" Target="../slideLayouts/slideLayout107.xml"/><Relationship Id="rId14" Type="http://schemas.openxmlformats.org/officeDocument/2006/relationships/slideLayout" Target="../slideLayouts/slideLayout112.xml"/><Relationship Id="rId22" Type="http://schemas.openxmlformats.org/officeDocument/2006/relationships/slideLayout" Target="../slideLayouts/slideLayout120.xml"/><Relationship Id="rId27" Type="http://schemas.openxmlformats.org/officeDocument/2006/relationships/slideLayout" Target="../slideLayouts/slideLayout125.xml"/><Relationship Id="rId30" Type="http://schemas.openxmlformats.org/officeDocument/2006/relationships/slideLayout" Target="../slideLayouts/slideLayout128.xml"/><Relationship Id="rId35" Type="http://schemas.openxmlformats.org/officeDocument/2006/relationships/vmlDrawing" Target="../drawings/vmlDrawing7.v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9.xml"/><Relationship Id="rId13" Type="http://schemas.openxmlformats.org/officeDocument/2006/relationships/slideLayout" Target="../slideLayouts/slideLayout144.xml"/><Relationship Id="rId18" Type="http://schemas.openxmlformats.org/officeDocument/2006/relationships/slideLayout" Target="../slideLayouts/slideLayout149.xml"/><Relationship Id="rId26" Type="http://schemas.openxmlformats.org/officeDocument/2006/relationships/slideLayout" Target="../slideLayouts/slideLayout157.xml"/><Relationship Id="rId39" Type="http://schemas.openxmlformats.org/officeDocument/2006/relationships/image" Target="../media/image1.emf"/><Relationship Id="rId3" Type="http://schemas.openxmlformats.org/officeDocument/2006/relationships/slideLayout" Target="../slideLayouts/slideLayout134.xml"/><Relationship Id="rId21" Type="http://schemas.openxmlformats.org/officeDocument/2006/relationships/slideLayout" Target="../slideLayouts/slideLayout152.xml"/><Relationship Id="rId34" Type="http://schemas.openxmlformats.org/officeDocument/2006/relationships/theme" Target="../theme/theme5.xml"/><Relationship Id="rId7" Type="http://schemas.openxmlformats.org/officeDocument/2006/relationships/slideLayout" Target="../slideLayouts/slideLayout138.xml"/><Relationship Id="rId12" Type="http://schemas.openxmlformats.org/officeDocument/2006/relationships/slideLayout" Target="../slideLayouts/slideLayout143.xml"/><Relationship Id="rId17" Type="http://schemas.openxmlformats.org/officeDocument/2006/relationships/slideLayout" Target="../slideLayouts/slideLayout148.xml"/><Relationship Id="rId25" Type="http://schemas.openxmlformats.org/officeDocument/2006/relationships/slideLayout" Target="../slideLayouts/slideLayout156.xml"/><Relationship Id="rId33" Type="http://schemas.openxmlformats.org/officeDocument/2006/relationships/slideLayout" Target="../slideLayouts/slideLayout164.xml"/><Relationship Id="rId38" Type="http://schemas.openxmlformats.org/officeDocument/2006/relationships/oleObject" Target="../embeddings/oleObject9.bin"/><Relationship Id="rId2" Type="http://schemas.openxmlformats.org/officeDocument/2006/relationships/slideLayout" Target="../slideLayouts/slideLayout133.xml"/><Relationship Id="rId16" Type="http://schemas.openxmlformats.org/officeDocument/2006/relationships/slideLayout" Target="../slideLayouts/slideLayout147.xml"/><Relationship Id="rId20" Type="http://schemas.openxmlformats.org/officeDocument/2006/relationships/slideLayout" Target="../slideLayouts/slideLayout151.xml"/><Relationship Id="rId29" Type="http://schemas.openxmlformats.org/officeDocument/2006/relationships/slideLayout" Target="../slideLayouts/slideLayout160.xml"/><Relationship Id="rId1" Type="http://schemas.openxmlformats.org/officeDocument/2006/relationships/slideLayout" Target="../slideLayouts/slideLayout132.xml"/><Relationship Id="rId6" Type="http://schemas.openxmlformats.org/officeDocument/2006/relationships/slideLayout" Target="../slideLayouts/slideLayout137.xml"/><Relationship Id="rId11" Type="http://schemas.openxmlformats.org/officeDocument/2006/relationships/slideLayout" Target="../slideLayouts/slideLayout142.xml"/><Relationship Id="rId24" Type="http://schemas.openxmlformats.org/officeDocument/2006/relationships/slideLayout" Target="../slideLayouts/slideLayout155.xml"/><Relationship Id="rId32" Type="http://schemas.openxmlformats.org/officeDocument/2006/relationships/slideLayout" Target="../slideLayouts/slideLayout163.xml"/><Relationship Id="rId37" Type="http://schemas.openxmlformats.org/officeDocument/2006/relationships/tags" Target="../tags/tag18.xml"/><Relationship Id="rId5" Type="http://schemas.openxmlformats.org/officeDocument/2006/relationships/slideLayout" Target="../slideLayouts/slideLayout136.xml"/><Relationship Id="rId15" Type="http://schemas.openxmlformats.org/officeDocument/2006/relationships/slideLayout" Target="../slideLayouts/slideLayout146.xml"/><Relationship Id="rId23" Type="http://schemas.openxmlformats.org/officeDocument/2006/relationships/slideLayout" Target="../slideLayouts/slideLayout154.xml"/><Relationship Id="rId28" Type="http://schemas.openxmlformats.org/officeDocument/2006/relationships/slideLayout" Target="../slideLayouts/slideLayout159.xml"/><Relationship Id="rId36" Type="http://schemas.openxmlformats.org/officeDocument/2006/relationships/tags" Target="../tags/tag17.xml"/><Relationship Id="rId10" Type="http://schemas.openxmlformats.org/officeDocument/2006/relationships/slideLayout" Target="../slideLayouts/slideLayout141.xml"/><Relationship Id="rId19" Type="http://schemas.openxmlformats.org/officeDocument/2006/relationships/slideLayout" Target="../slideLayouts/slideLayout150.xml"/><Relationship Id="rId31" Type="http://schemas.openxmlformats.org/officeDocument/2006/relationships/slideLayout" Target="../slideLayouts/slideLayout162.xml"/><Relationship Id="rId4" Type="http://schemas.openxmlformats.org/officeDocument/2006/relationships/slideLayout" Target="../slideLayouts/slideLayout135.xml"/><Relationship Id="rId9" Type="http://schemas.openxmlformats.org/officeDocument/2006/relationships/slideLayout" Target="../slideLayouts/slideLayout140.xml"/><Relationship Id="rId14" Type="http://schemas.openxmlformats.org/officeDocument/2006/relationships/slideLayout" Target="../slideLayouts/slideLayout145.xml"/><Relationship Id="rId22" Type="http://schemas.openxmlformats.org/officeDocument/2006/relationships/slideLayout" Target="../slideLayouts/slideLayout153.xml"/><Relationship Id="rId27" Type="http://schemas.openxmlformats.org/officeDocument/2006/relationships/slideLayout" Target="../slideLayouts/slideLayout158.xml"/><Relationship Id="rId30" Type="http://schemas.openxmlformats.org/officeDocument/2006/relationships/slideLayout" Target="../slideLayouts/slideLayout161.xml"/><Relationship Id="rId35" Type="http://schemas.openxmlformats.org/officeDocument/2006/relationships/vmlDrawing" Target="../drawings/vmlDrawing9.v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2.xml"/><Relationship Id="rId13" Type="http://schemas.openxmlformats.org/officeDocument/2006/relationships/slideLayout" Target="../slideLayouts/slideLayout177.xml"/><Relationship Id="rId18" Type="http://schemas.openxmlformats.org/officeDocument/2006/relationships/slideLayout" Target="../slideLayouts/slideLayout182.xml"/><Relationship Id="rId26" Type="http://schemas.openxmlformats.org/officeDocument/2006/relationships/slideLayout" Target="../slideLayouts/slideLayout190.xml"/><Relationship Id="rId39" Type="http://schemas.openxmlformats.org/officeDocument/2006/relationships/image" Target="../media/image1.emf"/><Relationship Id="rId3" Type="http://schemas.openxmlformats.org/officeDocument/2006/relationships/slideLayout" Target="../slideLayouts/slideLayout167.xml"/><Relationship Id="rId21" Type="http://schemas.openxmlformats.org/officeDocument/2006/relationships/slideLayout" Target="../slideLayouts/slideLayout185.xml"/><Relationship Id="rId34" Type="http://schemas.openxmlformats.org/officeDocument/2006/relationships/theme" Target="../theme/theme6.xml"/><Relationship Id="rId7" Type="http://schemas.openxmlformats.org/officeDocument/2006/relationships/slideLayout" Target="../slideLayouts/slideLayout171.xml"/><Relationship Id="rId12" Type="http://schemas.openxmlformats.org/officeDocument/2006/relationships/slideLayout" Target="../slideLayouts/slideLayout176.xml"/><Relationship Id="rId17" Type="http://schemas.openxmlformats.org/officeDocument/2006/relationships/slideLayout" Target="../slideLayouts/slideLayout181.xml"/><Relationship Id="rId25" Type="http://schemas.openxmlformats.org/officeDocument/2006/relationships/slideLayout" Target="../slideLayouts/slideLayout189.xml"/><Relationship Id="rId33" Type="http://schemas.openxmlformats.org/officeDocument/2006/relationships/slideLayout" Target="../slideLayouts/slideLayout197.xml"/><Relationship Id="rId38" Type="http://schemas.openxmlformats.org/officeDocument/2006/relationships/oleObject" Target="../embeddings/oleObject11.bin"/><Relationship Id="rId2" Type="http://schemas.openxmlformats.org/officeDocument/2006/relationships/slideLayout" Target="../slideLayouts/slideLayout166.xml"/><Relationship Id="rId16" Type="http://schemas.openxmlformats.org/officeDocument/2006/relationships/slideLayout" Target="../slideLayouts/slideLayout180.xml"/><Relationship Id="rId20" Type="http://schemas.openxmlformats.org/officeDocument/2006/relationships/slideLayout" Target="../slideLayouts/slideLayout184.xml"/><Relationship Id="rId29" Type="http://schemas.openxmlformats.org/officeDocument/2006/relationships/slideLayout" Target="../slideLayouts/slideLayout193.xml"/><Relationship Id="rId1" Type="http://schemas.openxmlformats.org/officeDocument/2006/relationships/slideLayout" Target="../slideLayouts/slideLayout165.xml"/><Relationship Id="rId6" Type="http://schemas.openxmlformats.org/officeDocument/2006/relationships/slideLayout" Target="../slideLayouts/slideLayout170.xml"/><Relationship Id="rId11" Type="http://schemas.openxmlformats.org/officeDocument/2006/relationships/slideLayout" Target="../slideLayouts/slideLayout175.xml"/><Relationship Id="rId24" Type="http://schemas.openxmlformats.org/officeDocument/2006/relationships/slideLayout" Target="../slideLayouts/slideLayout188.xml"/><Relationship Id="rId32" Type="http://schemas.openxmlformats.org/officeDocument/2006/relationships/slideLayout" Target="../slideLayouts/slideLayout196.xml"/><Relationship Id="rId37" Type="http://schemas.openxmlformats.org/officeDocument/2006/relationships/tags" Target="../tags/tag22.xml"/><Relationship Id="rId5" Type="http://schemas.openxmlformats.org/officeDocument/2006/relationships/slideLayout" Target="../slideLayouts/slideLayout169.xml"/><Relationship Id="rId15" Type="http://schemas.openxmlformats.org/officeDocument/2006/relationships/slideLayout" Target="../slideLayouts/slideLayout179.xml"/><Relationship Id="rId23" Type="http://schemas.openxmlformats.org/officeDocument/2006/relationships/slideLayout" Target="../slideLayouts/slideLayout187.xml"/><Relationship Id="rId28" Type="http://schemas.openxmlformats.org/officeDocument/2006/relationships/slideLayout" Target="../slideLayouts/slideLayout192.xml"/><Relationship Id="rId36" Type="http://schemas.openxmlformats.org/officeDocument/2006/relationships/tags" Target="../tags/tag21.xml"/><Relationship Id="rId10" Type="http://schemas.openxmlformats.org/officeDocument/2006/relationships/slideLayout" Target="../slideLayouts/slideLayout174.xml"/><Relationship Id="rId19" Type="http://schemas.openxmlformats.org/officeDocument/2006/relationships/slideLayout" Target="../slideLayouts/slideLayout183.xml"/><Relationship Id="rId31" Type="http://schemas.openxmlformats.org/officeDocument/2006/relationships/slideLayout" Target="../slideLayouts/slideLayout195.xml"/><Relationship Id="rId4" Type="http://schemas.openxmlformats.org/officeDocument/2006/relationships/slideLayout" Target="../slideLayouts/slideLayout168.xml"/><Relationship Id="rId9" Type="http://schemas.openxmlformats.org/officeDocument/2006/relationships/slideLayout" Target="../slideLayouts/slideLayout173.xml"/><Relationship Id="rId14" Type="http://schemas.openxmlformats.org/officeDocument/2006/relationships/slideLayout" Target="../slideLayouts/slideLayout178.xml"/><Relationship Id="rId22" Type="http://schemas.openxmlformats.org/officeDocument/2006/relationships/slideLayout" Target="../slideLayouts/slideLayout186.xml"/><Relationship Id="rId27" Type="http://schemas.openxmlformats.org/officeDocument/2006/relationships/slideLayout" Target="../slideLayouts/slideLayout191.xml"/><Relationship Id="rId30" Type="http://schemas.openxmlformats.org/officeDocument/2006/relationships/slideLayout" Target="../slideLayouts/slideLayout194.xml"/><Relationship Id="rId35" Type="http://schemas.openxmlformats.org/officeDocument/2006/relationships/vmlDrawing" Target="../drawings/vmlDrawing11.v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5.xml"/><Relationship Id="rId13" Type="http://schemas.openxmlformats.org/officeDocument/2006/relationships/slideLayout" Target="../slideLayouts/slideLayout210.xml"/><Relationship Id="rId18" Type="http://schemas.openxmlformats.org/officeDocument/2006/relationships/slideLayout" Target="../slideLayouts/slideLayout215.xml"/><Relationship Id="rId26" Type="http://schemas.openxmlformats.org/officeDocument/2006/relationships/slideLayout" Target="../slideLayouts/slideLayout223.xml"/><Relationship Id="rId39" Type="http://schemas.openxmlformats.org/officeDocument/2006/relationships/image" Target="../media/image1.emf"/><Relationship Id="rId3" Type="http://schemas.openxmlformats.org/officeDocument/2006/relationships/slideLayout" Target="../slideLayouts/slideLayout200.xml"/><Relationship Id="rId21" Type="http://schemas.openxmlformats.org/officeDocument/2006/relationships/slideLayout" Target="../slideLayouts/slideLayout218.xml"/><Relationship Id="rId34" Type="http://schemas.openxmlformats.org/officeDocument/2006/relationships/theme" Target="../theme/theme7.xml"/><Relationship Id="rId7" Type="http://schemas.openxmlformats.org/officeDocument/2006/relationships/slideLayout" Target="../slideLayouts/slideLayout204.xml"/><Relationship Id="rId12" Type="http://schemas.openxmlformats.org/officeDocument/2006/relationships/slideLayout" Target="../slideLayouts/slideLayout209.xml"/><Relationship Id="rId17" Type="http://schemas.openxmlformats.org/officeDocument/2006/relationships/slideLayout" Target="../slideLayouts/slideLayout214.xml"/><Relationship Id="rId25" Type="http://schemas.openxmlformats.org/officeDocument/2006/relationships/slideLayout" Target="../slideLayouts/slideLayout222.xml"/><Relationship Id="rId33" Type="http://schemas.openxmlformats.org/officeDocument/2006/relationships/slideLayout" Target="../slideLayouts/slideLayout230.xml"/><Relationship Id="rId38" Type="http://schemas.openxmlformats.org/officeDocument/2006/relationships/oleObject" Target="../embeddings/oleObject13.bin"/><Relationship Id="rId2" Type="http://schemas.openxmlformats.org/officeDocument/2006/relationships/slideLayout" Target="../slideLayouts/slideLayout199.xml"/><Relationship Id="rId16" Type="http://schemas.openxmlformats.org/officeDocument/2006/relationships/slideLayout" Target="../slideLayouts/slideLayout213.xml"/><Relationship Id="rId20" Type="http://schemas.openxmlformats.org/officeDocument/2006/relationships/slideLayout" Target="../slideLayouts/slideLayout217.xml"/><Relationship Id="rId29" Type="http://schemas.openxmlformats.org/officeDocument/2006/relationships/slideLayout" Target="../slideLayouts/slideLayout226.xml"/><Relationship Id="rId1" Type="http://schemas.openxmlformats.org/officeDocument/2006/relationships/slideLayout" Target="../slideLayouts/slideLayout198.xml"/><Relationship Id="rId6" Type="http://schemas.openxmlformats.org/officeDocument/2006/relationships/slideLayout" Target="../slideLayouts/slideLayout203.xml"/><Relationship Id="rId11" Type="http://schemas.openxmlformats.org/officeDocument/2006/relationships/slideLayout" Target="../slideLayouts/slideLayout208.xml"/><Relationship Id="rId24" Type="http://schemas.openxmlformats.org/officeDocument/2006/relationships/slideLayout" Target="../slideLayouts/slideLayout221.xml"/><Relationship Id="rId32" Type="http://schemas.openxmlformats.org/officeDocument/2006/relationships/slideLayout" Target="../slideLayouts/slideLayout229.xml"/><Relationship Id="rId37" Type="http://schemas.openxmlformats.org/officeDocument/2006/relationships/tags" Target="../tags/tag26.xml"/><Relationship Id="rId5" Type="http://schemas.openxmlformats.org/officeDocument/2006/relationships/slideLayout" Target="../slideLayouts/slideLayout202.xml"/><Relationship Id="rId15" Type="http://schemas.openxmlformats.org/officeDocument/2006/relationships/slideLayout" Target="../slideLayouts/slideLayout212.xml"/><Relationship Id="rId23" Type="http://schemas.openxmlformats.org/officeDocument/2006/relationships/slideLayout" Target="../slideLayouts/slideLayout220.xml"/><Relationship Id="rId28" Type="http://schemas.openxmlformats.org/officeDocument/2006/relationships/slideLayout" Target="../slideLayouts/slideLayout225.xml"/><Relationship Id="rId36" Type="http://schemas.openxmlformats.org/officeDocument/2006/relationships/tags" Target="../tags/tag25.xml"/><Relationship Id="rId10" Type="http://schemas.openxmlformats.org/officeDocument/2006/relationships/slideLayout" Target="../slideLayouts/slideLayout207.xml"/><Relationship Id="rId19" Type="http://schemas.openxmlformats.org/officeDocument/2006/relationships/slideLayout" Target="../slideLayouts/slideLayout216.xml"/><Relationship Id="rId31" Type="http://schemas.openxmlformats.org/officeDocument/2006/relationships/slideLayout" Target="../slideLayouts/slideLayout228.xml"/><Relationship Id="rId4" Type="http://schemas.openxmlformats.org/officeDocument/2006/relationships/slideLayout" Target="../slideLayouts/slideLayout201.xml"/><Relationship Id="rId9" Type="http://schemas.openxmlformats.org/officeDocument/2006/relationships/slideLayout" Target="../slideLayouts/slideLayout206.xml"/><Relationship Id="rId14" Type="http://schemas.openxmlformats.org/officeDocument/2006/relationships/slideLayout" Target="../slideLayouts/slideLayout211.xml"/><Relationship Id="rId22" Type="http://schemas.openxmlformats.org/officeDocument/2006/relationships/slideLayout" Target="../slideLayouts/slideLayout219.xml"/><Relationship Id="rId27" Type="http://schemas.openxmlformats.org/officeDocument/2006/relationships/slideLayout" Target="../slideLayouts/slideLayout224.xml"/><Relationship Id="rId30" Type="http://schemas.openxmlformats.org/officeDocument/2006/relationships/slideLayout" Target="../slideLayouts/slideLayout227.xml"/><Relationship Id="rId35" Type="http://schemas.openxmlformats.org/officeDocument/2006/relationships/vmlDrawing" Target="../drawings/vmlDrawing13.v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8.xml"/><Relationship Id="rId13" Type="http://schemas.openxmlformats.org/officeDocument/2006/relationships/slideLayout" Target="../slideLayouts/slideLayout243.xml"/><Relationship Id="rId18" Type="http://schemas.openxmlformats.org/officeDocument/2006/relationships/slideLayout" Target="../slideLayouts/slideLayout248.xml"/><Relationship Id="rId26" Type="http://schemas.openxmlformats.org/officeDocument/2006/relationships/slideLayout" Target="../slideLayouts/slideLayout256.xml"/><Relationship Id="rId3" Type="http://schemas.openxmlformats.org/officeDocument/2006/relationships/slideLayout" Target="../slideLayouts/slideLayout233.xml"/><Relationship Id="rId21" Type="http://schemas.openxmlformats.org/officeDocument/2006/relationships/slideLayout" Target="../slideLayouts/slideLayout251.xml"/><Relationship Id="rId34" Type="http://schemas.openxmlformats.org/officeDocument/2006/relationships/vmlDrawing" Target="../drawings/vmlDrawing15.vml"/><Relationship Id="rId7" Type="http://schemas.openxmlformats.org/officeDocument/2006/relationships/slideLayout" Target="../slideLayouts/slideLayout237.xml"/><Relationship Id="rId12" Type="http://schemas.openxmlformats.org/officeDocument/2006/relationships/slideLayout" Target="../slideLayouts/slideLayout242.xml"/><Relationship Id="rId17" Type="http://schemas.openxmlformats.org/officeDocument/2006/relationships/slideLayout" Target="../slideLayouts/slideLayout247.xml"/><Relationship Id="rId25" Type="http://schemas.openxmlformats.org/officeDocument/2006/relationships/slideLayout" Target="../slideLayouts/slideLayout255.xml"/><Relationship Id="rId33" Type="http://schemas.openxmlformats.org/officeDocument/2006/relationships/theme" Target="../theme/theme8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32.xml"/><Relationship Id="rId16" Type="http://schemas.openxmlformats.org/officeDocument/2006/relationships/slideLayout" Target="../slideLayouts/slideLayout246.xml"/><Relationship Id="rId20" Type="http://schemas.openxmlformats.org/officeDocument/2006/relationships/slideLayout" Target="../slideLayouts/slideLayout250.xml"/><Relationship Id="rId29" Type="http://schemas.openxmlformats.org/officeDocument/2006/relationships/slideLayout" Target="../slideLayouts/slideLayout259.xml"/><Relationship Id="rId1" Type="http://schemas.openxmlformats.org/officeDocument/2006/relationships/slideLayout" Target="../slideLayouts/slideLayout231.xml"/><Relationship Id="rId6" Type="http://schemas.openxmlformats.org/officeDocument/2006/relationships/slideLayout" Target="../slideLayouts/slideLayout236.xml"/><Relationship Id="rId11" Type="http://schemas.openxmlformats.org/officeDocument/2006/relationships/slideLayout" Target="../slideLayouts/slideLayout241.xml"/><Relationship Id="rId24" Type="http://schemas.openxmlformats.org/officeDocument/2006/relationships/slideLayout" Target="../slideLayouts/slideLayout254.xml"/><Relationship Id="rId32" Type="http://schemas.openxmlformats.org/officeDocument/2006/relationships/slideLayout" Target="../slideLayouts/slideLayout262.xml"/><Relationship Id="rId37" Type="http://schemas.openxmlformats.org/officeDocument/2006/relationships/oleObject" Target="../embeddings/oleObject15.bin"/><Relationship Id="rId5" Type="http://schemas.openxmlformats.org/officeDocument/2006/relationships/slideLayout" Target="../slideLayouts/slideLayout235.xml"/><Relationship Id="rId15" Type="http://schemas.openxmlformats.org/officeDocument/2006/relationships/slideLayout" Target="../slideLayouts/slideLayout245.xml"/><Relationship Id="rId23" Type="http://schemas.openxmlformats.org/officeDocument/2006/relationships/slideLayout" Target="../slideLayouts/slideLayout253.xml"/><Relationship Id="rId28" Type="http://schemas.openxmlformats.org/officeDocument/2006/relationships/slideLayout" Target="../slideLayouts/slideLayout258.xml"/><Relationship Id="rId36" Type="http://schemas.openxmlformats.org/officeDocument/2006/relationships/tags" Target="../tags/tag30.xml"/><Relationship Id="rId10" Type="http://schemas.openxmlformats.org/officeDocument/2006/relationships/slideLayout" Target="../slideLayouts/slideLayout240.xml"/><Relationship Id="rId19" Type="http://schemas.openxmlformats.org/officeDocument/2006/relationships/slideLayout" Target="../slideLayouts/slideLayout249.xml"/><Relationship Id="rId31" Type="http://schemas.openxmlformats.org/officeDocument/2006/relationships/slideLayout" Target="../slideLayouts/slideLayout261.xml"/><Relationship Id="rId4" Type="http://schemas.openxmlformats.org/officeDocument/2006/relationships/slideLayout" Target="../slideLayouts/slideLayout234.xml"/><Relationship Id="rId9" Type="http://schemas.openxmlformats.org/officeDocument/2006/relationships/slideLayout" Target="../slideLayouts/slideLayout239.xml"/><Relationship Id="rId14" Type="http://schemas.openxmlformats.org/officeDocument/2006/relationships/slideLayout" Target="../slideLayouts/slideLayout244.xml"/><Relationship Id="rId22" Type="http://schemas.openxmlformats.org/officeDocument/2006/relationships/slideLayout" Target="../slideLayouts/slideLayout252.xml"/><Relationship Id="rId27" Type="http://schemas.openxmlformats.org/officeDocument/2006/relationships/slideLayout" Target="../slideLayouts/slideLayout257.xml"/><Relationship Id="rId30" Type="http://schemas.openxmlformats.org/officeDocument/2006/relationships/slideLayout" Target="../slideLayouts/slideLayout260.xml"/><Relationship Id="rId35" Type="http://schemas.openxmlformats.org/officeDocument/2006/relationships/tags" Target="../tags/tag2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0.xml"/><Relationship Id="rId13" Type="http://schemas.openxmlformats.org/officeDocument/2006/relationships/slideLayout" Target="../slideLayouts/slideLayout275.xml"/><Relationship Id="rId18" Type="http://schemas.openxmlformats.org/officeDocument/2006/relationships/slideLayout" Target="../slideLayouts/slideLayout280.xml"/><Relationship Id="rId26" Type="http://schemas.openxmlformats.org/officeDocument/2006/relationships/slideLayout" Target="../slideLayouts/slideLayout288.xml"/><Relationship Id="rId39" Type="http://schemas.openxmlformats.org/officeDocument/2006/relationships/image" Target="../media/image1.emf"/><Relationship Id="rId3" Type="http://schemas.openxmlformats.org/officeDocument/2006/relationships/slideLayout" Target="../slideLayouts/slideLayout265.xml"/><Relationship Id="rId21" Type="http://schemas.openxmlformats.org/officeDocument/2006/relationships/slideLayout" Target="../slideLayouts/slideLayout283.xml"/><Relationship Id="rId34" Type="http://schemas.openxmlformats.org/officeDocument/2006/relationships/theme" Target="../theme/theme9.xml"/><Relationship Id="rId7" Type="http://schemas.openxmlformats.org/officeDocument/2006/relationships/slideLayout" Target="../slideLayouts/slideLayout269.xml"/><Relationship Id="rId12" Type="http://schemas.openxmlformats.org/officeDocument/2006/relationships/slideLayout" Target="../slideLayouts/slideLayout274.xml"/><Relationship Id="rId17" Type="http://schemas.openxmlformats.org/officeDocument/2006/relationships/slideLayout" Target="../slideLayouts/slideLayout279.xml"/><Relationship Id="rId25" Type="http://schemas.openxmlformats.org/officeDocument/2006/relationships/slideLayout" Target="../slideLayouts/slideLayout287.xml"/><Relationship Id="rId33" Type="http://schemas.openxmlformats.org/officeDocument/2006/relationships/slideLayout" Target="../slideLayouts/slideLayout295.xml"/><Relationship Id="rId38" Type="http://schemas.openxmlformats.org/officeDocument/2006/relationships/oleObject" Target="../embeddings/oleObject17.bin"/><Relationship Id="rId2" Type="http://schemas.openxmlformats.org/officeDocument/2006/relationships/slideLayout" Target="../slideLayouts/slideLayout264.xml"/><Relationship Id="rId16" Type="http://schemas.openxmlformats.org/officeDocument/2006/relationships/slideLayout" Target="../slideLayouts/slideLayout278.xml"/><Relationship Id="rId20" Type="http://schemas.openxmlformats.org/officeDocument/2006/relationships/slideLayout" Target="../slideLayouts/slideLayout282.xml"/><Relationship Id="rId29" Type="http://schemas.openxmlformats.org/officeDocument/2006/relationships/slideLayout" Target="../slideLayouts/slideLayout291.xml"/><Relationship Id="rId1" Type="http://schemas.openxmlformats.org/officeDocument/2006/relationships/slideLayout" Target="../slideLayouts/slideLayout263.xml"/><Relationship Id="rId6" Type="http://schemas.openxmlformats.org/officeDocument/2006/relationships/slideLayout" Target="../slideLayouts/slideLayout268.xml"/><Relationship Id="rId11" Type="http://schemas.openxmlformats.org/officeDocument/2006/relationships/slideLayout" Target="../slideLayouts/slideLayout273.xml"/><Relationship Id="rId24" Type="http://schemas.openxmlformats.org/officeDocument/2006/relationships/slideLayout" Target="../slideLayouts/slideLayout286.xml"/><Relationship Id="rId32" Type="http://schemas.openxmlformats.org/officeDocument/2006/relationships/slideLayout" Target="../slideLayouts/slideLayout294.xml"/><Relationship Id="rId37" Type="http://schemas.openxmlformats.org/officeDocument/2006/relationships/tags" Target="../tags/tag34.xml"/><Relationship Id="rId5" Type="http://schemas.openxmlformats.org/officeDocument/2006/relationships/slideLayout" Target="../slideLayouts/slideLayout267.xml"/><Relationship Id="rId15" Type="http://schemas.openxmlformats.org/officeDocument/2006/relationships/slideLayout" Target="../slideLayouts/slideLayout277.xml"/><Relationship Id="rId23" Type="http://schemas.openxmlformats.org/officeDocument/2006/relationships/slideLayout" Target="../slideLayouts/slideLayout285.xml"/><Relationship Id="rId28" Type="http://schemas.openxmlformats.org/officeDocument/2006/relationships/slideLayout" Target="../slideLayouts/slideLayout290.xml"/><Relationship Id="rId36" Type="http://schemas.openxmlformats.org/officeDocument/2006/relationships/tags" Target="../tags/tag33.xml"/><Relationship Id="rId10" Type="http://schemas.openxmlformats.org/officeDocument/2006/relationships/slideLayout" Target="../slideLayouts/slideLayout272.xml"/><Relationship Id="rId19" Type="http://schemas.openxmlformats.org/officeDocument/2006/relationships/slideLayout" Target="../slideLayouts/slideLayout281.xml"/><Relationship Id="rId31" Type="http://schemas.openxmlformats.org/officeDocument/2006/relationships/slideLayout" Target="../slideLayouts/slideLayout293.xml"/><Relationship Id="rId4" Type="http://schemas.openxmlformats.org/officeDocument/2006/relationships/slideLayout" Target="../slideLayouts/slideLayout266.xml"/><Relationship Id="rId9" Type="http://schemas.openxmlformats.org/officeDocument/2006/relationships/slideLayout" Target="../slideLayouts/slideLayout271.xml"/><Relationship Id="rId14" Type="http://schemas.openxmlformats.org/officeDocument/2006/relationships/slideLayout" Target="../slideLayouts/slideLayout276.xml"/><Relationship Id="rId22" Type="http://schemas.openxmlformats.org/officeDocument/2006/relationships/slideLayout" Target="../slideLayouts/slideLayout284.xml"/><Relationship Id="rId27" Type="http://schemas.openxmlformats.org/officeDocument/2006/relationships/slideLayout" Target="../slideLayouts/slideLayout289.xml"/><Relationship Id="rId30" Type="http://schemas.openxmlformats.org/officeDocument/2006/relationships/slideLayout" Target="../slideLayouts/slideLayout292.xml"/><Relationship Id="rId35" Type="http://schemas.openxmlformats.org/officeDocument/2006/relationships/vmlDrawing" Target="../drawings/vmlDrawing17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67581F3-4EBC-4BFB-A62D-A7526A02AB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1908804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37" imgW="395" imgH="394" progId="TCLayout.ActiveDocument.1">
                  <p:embed/>
                </p:oleObj>
              </mc:Choice>
              <mc:Fallback>
                <p:oleObj name="think-cell Slide" r:id="rId37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67581F3-4EBC-4BFB-A62D-A7526A02AB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B905AC1-6F2F-488F-889C-612077FFA2FD}"/>
              </a:ext>
            </a:extLst>
          </p:cNvPr>
          <p:cNvSpPr/>
          <p:nvPr userDrawn="1">
            <p:custDataLst>
              <p:tags r:id="rId3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137920"/>
            <a:ext cx="82296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3A56E9B-FDEB-4900-88BD-F0B34334DB41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4464" y="6327648"/>
            <a:ext cx="402504" cy="41148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69E1F1-58AD-46F1-B809-9D59D36060C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008048" y="6516456"/>
            <a:ext cx="119125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6DAC30F7-B88D-456D-A7F2-CF60FF9879D8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6E0BE3A-850C-4403-A5AC-24F2FB2AC9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37308" y="6516456"/>
            <a:ext cx="3490266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defRPr lang="en-IN" sz="8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1FFE43-22D2-44DE-9910-040934A9AD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7201" y="6516456"/>
            <a:ext cx="663066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ru-RU" dirty="0"/>
              <a:t>Стр.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61427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3" r:id="rId1"/>
    <p:sldLayoutId id="2147483844" r:id="rId2"/>
    <p:sldLayoutId id="2147483818" r:id="rId3"/>
    <p:sldLayoutId id="2147483820" r:id="rId4"/>
    <p:sldLayoutId id="2147483821" r:id="rId5"/>
    <p:sldLayoutId id="2147483822" r:id="rId6"/>
    <p:sldLayoutId id="2147483823" r:id="rId7"/>
    <p:sldLayoutId id="2147483824" r:id="rId8"/>
    <p:sldLayoutId id="2147483825" r:id="rId9"/>
    <p:sldLayoutId id="2147483826" r:id="rId10"/>
    <p:sldLayoutId id="2147483827" r:id="rId11"/>
    <p:sldLayoutId id="2147483828" r:id="rId12"/>
    <p:sldLayoutId id="2147483829" r:id="rId13"/>
    <p:sldLayoutId id="2147483830" r:id="rId14"/>
    <p:sldLayoutId id="2147483885" r:id="rId15"/>
    <p:sldLayoutId id="2147483883" r:id="rId16"/>
    <p:sldLayoutId id="2147483831" r:id="rId17"/>
    <p:sldLayoutId id="2147483832" r:id="rId18"/>
    <p:sldLayoutId id="2147483833" r:id="rId19"/>
    <p:sldLayoutId id="2147483834" r:id="rId20"/>
    <p:sldLayoutId id="2147483835" r:id="rId21"/>
    <p:sldLayoutId id="2147483836" r:id="rId22"/>
    <p:sldLayoutId id="2147483837" r:id="rId23"/>
    <p:sldLayoutId id="2147483838" r:id="rId24"/>
    <p:sldLayoutId id="2147483839" r:id="rId25"/>
    <p:sldLayoutId id="2147483840" r:id="rId26"/>
    <p:sldLayoutId id="2147483893" r:id="rId27"/>
    <p:sldLayoutId id="2147483845" r:id="rId28"/>
    <p:sldLayoutId id="2147483846" r:id="rId29"/>
    <p:sldLayoutId id="2147483848" r:id="rId30"/>
    <p:sldLayoutId id="2147483849" r:id="rId31"/>
    <p:sldLayoutId id="2147483878" r:id="rId32"/>
  </p:sldLayoutIdLst>
  <p:hf hdr="0"/>
  <p:txStyles>
    <p:titleStyle>
      <a:lvl1pPr algn="l" defTabSz="685434" rtl="0" eaLnBrk="1" latinLnBrk="0" hangingPunct="1">
        <a:lnSpc>
          <a:spcPct val="85000"/>
        </a:lnSpc>
        <a:spcBef>
          <a:spcPct val="0"/>
        </a:spcBef>
        <a:buNone/>
        <a:defRPr sz="2400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267319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20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534639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8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801958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6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069277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336597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1884944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6pPr>
      <a:lvl7pPr marL="2227661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7pPr>
      <a:lvl8pPr marL="2570378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8pPr>
      <a:lvl9pPr marL="2913096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17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434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151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868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586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303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9020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1737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1D7C2B8-178B-4429-946C-B357DDA719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411581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7" name="think-cell Slide" r:id="rId38" imgW="395" imgH="394" progId="TCLayout.ActiveDocument.1">
                  <p:embed/>
                </p:oleObj>
              </mc:Choice>
              <mc:Fallback>
                <p:oleObj name="think-cell Slide" r:id="rId38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1D7C2B8-178B-4429-946C-B357DDA719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BB509FF-FB6D-4B05-B320-9DBB954A4B59}"/>
              </a:ext>
            </a:extLst>
          </p:cNvPr>
          <p:cNvSpPr/>
          <p:nvPr userDrawn="1">
            <p:custDataLst>
              <p:tags r:id="rId3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137920"/>
            <a:ext cx="82296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grpSp>
        <p:nvGrpSpPr>
          <p:cNvPr id="21" name="Group 4">
            <a:extLst>
              <a:ext uri="{FF2B5EF4-FFF2-40B4-BE49-F238E27FC236}">
                <a16:creationId xmlns:a16="http://schemas.microsoft.com/office/drawing/2014/main" id="{070143FB-B49A-43B9-BDD0-6B34F1305A6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284464" y="6327648"/>
            <a:ext cx="402336" cy="412867"/>
            <a:chOff x="7110" y="4004"/>
            <a:chExt cx="191" cy="196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D9BF2560-A8D8-44C9-8115-BCB5085894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56D2A493-73F6-40BA-A4BE-DAEC44F3A2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C09A7C37-C954-457F-B80C-7BC99BEAE3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1CDCB3BA-A513-4554-9E26-04ABDDC121E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11F648E2-661C-4A8C-A2ED-1444A87C1310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658F79CF-3FBE-4C25-8F3A-14054DB24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21561" y="6516456"/>
            <a:ext cx="3496682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0896A04B-A040-4017-99D1-DD33A2934A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63093" y="6516456"/>
            <a:ext cx="663066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l" defTabSz="914400" rtl="0" eaLnBrk="1" latinLnBrk="0" hangingPunct="1">
              <a:defRPr lang="en-GB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ru-RU" dirty="0"/>
              <a:t>Стр.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119020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7" r:id="rId1"/>
    <p:sldLayoutId id="2147484148" r:id="rId2"/>
    <p:sldLayoutId id="2147484149" r:id="rId3"/>
    <p:sldLayoutId id="2147484150" r:id="rId4"/>
    <p:sldLayoutId id="2147484151" r:id="rId5"/>
    <p:sldLayoutId id="2147484152" r:id="rId6"/>
    <p:sldLayoutId id="2147484153" r:id="rId7"/>
    <p:sldLayoutId id="2147484154" r:id="rId8"/>
    <p:sldLayoutId id="2147484155" r:id="rId9"/>
    <p:sldLayoutId id="2147484156" r:id="rId10"/>
    <p:sldLayoutId id="2147484157" r:id="rId11"/>
    <p:sldLayoutId id="2147484158" r:id="rId12"/>
    <p:sldLayoutId id="2147484159" r:id="rId13"/>
    <p:sldLayoutId id="2147484160" r:id="rId14"/>
    <p:sldLayoutId id="2147484161" r:id="rId15"/>
    <p:sldLayoutId id="2147484162" r:id="rId16"/>
    <p:sldLayoutId id="2147484163" r:id="rId17"/>
    <p:sldLayoutId id="2147484164" r:id="rId18"/>
    <p:sldLayoutId id="2147484165" r:id="rId19"/>
    <p:sldLayoutId id="2147484166" r:id="rId20"/>
    <p:sldLayoutId id="2147484167" r:id="rId21"/>
    <p:sldLayoutId id="2147484168" r:id="rId22"/>
    <p:sldLayoutId id="2147484169" r:id="rId23"/>
    <p:sldLayoutId id="2147484170" r:id="rId24"/>
    <p:sldLayoutId id="2147484171" r:id="rId25"/>
    <p:sldLayoutId id="2147484172" r:id="rId26"/>
    <p:sldLayoutId id="2147484173" r:id="rId27"/>
    <p:sldLayoutId id="2147484174" r:id="rId28"/>
    <p:sldLayoutId id="2147484175" r:id="rId29"/>
    <p:sldLayoutId id="2147484176" r:id="rId30"/>
    <p:sldLayoutId id="2147484177" r:id="rId31"/>
    <p:sldLayoutId id="2147484178" r:id="rId32"/>
    <p:sldLayoutId id="2147484179" r:id="rId33"/>
  </p:sldLayoutIdLst>
  <p:hf hdr="0"/>
  <p:txStyles>
    <p:titleStyle>
      <a:lvl1pPr algn="l" defTabSz="685434" rtl="0" eaLnBrk="1" latinLnBrk="0" hangingPunct="1">
        <a:lnSpc>
          <a:spcPct val="85000"/>
        </a:lnSpc>
        <a:spcBef>
          <a:spcPct val="0"/>
        </a:spcBef>
        <a:buNone/>
        <a:defRPr sz="2100" b="1" kern="1200">
          <a:solidFill>
            <a:schemeClr val="bg1"/>
          </a:solidFill>
          <a:latin typeface="EYInterstate" panose="02000503020000020004" pitchFamily="2" charset="0"/>
          <a:ea typeface="+mj-ea"/>
          <a:cs typeface="Arial" pitchFamily="34" charset="0"/>
        </a:defRPr>
      </a:lvl1pPr>
    </p:titleStyle>
    <p:bodyStyle>
      <a:lvl1pPr marL="267319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20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534639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8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801958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6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069277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336597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1884944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6pPr>
      <a:lvl7pPr marL="2227661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7pPr>
      <a:lvl8pPr marL="2570378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8pPr>
      <a:lvl9pPr marL="2913096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17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434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151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868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586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303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9020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1737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1D7C2B8-178B-4429-946C-B357DDA719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1548410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5" name="think-cell Slide" r:id="rId39" imgW="6350000" imgH="6350000" progId="TCLayout.ActiveDocument.1">
                  <p:embed/>
                </p:oleObj>
              </mc:Choice>
              <mc:Fallback>
                <p:oleObj name="think-cell Slide" r:id="rId39" imgW="6350000" imgH="63500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1D7C2B8-178B-4429-946C-B357DDA719A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BB509FF-FB6D-4B05-B320-9DBB954A4B59}"/>
              </a:ext>
            </a:extLst>
          </p:cNvPr>
          <p:cNvSpPr/>
          <p:nvPr userDrawn="1">
            <p:custDataLst>
              <p:tags r:id="rId3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137920"/>
            <a:ext cx="82296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grpSp>
        <p:nvGrpSpPr>
          <p:cNvPr id="21" name="Group 4">
            <a:extLst>
              <a:ext uri="{FF2B5EF4-FFF2-40B4-BE49-F238E27FC236}">
                <a16:creationId xmlns:a16="http://schemas.microsoft.com/office/drawing/2014/main" id="{070143FB-B49A-43B9-BDD0-6B34F1305A6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284464" y="6327648"/>
            <a:ext cx="402336" cy="412867"/>
            <a:chOff x="7110" y="4004"/>
            <a:chExt cx="191" cy="196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D9BF2560-A8D8-44C9-8115-BCB5085894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56D2A493-73F6-40BA-A4BE-DAEC44F3A2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C09A7C37-C954-457F-B80C-7BC99BEAE3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1CDCB3BA-A513-4554-9E26-04ABDDC121E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ru-RU" dirty="0"/>
              <a:t>26 ноября 2020</a:t>
            </a:r>
            <a:endParaRPr lang="en-IN" dirty="0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658F79CF-3FBE-4C25-8F3A-14054DB24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21561" y="6516456"/>
            <a:ext cx="3496682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ru-RU" dirty="0"/>
              <a:t>Стимулирование развития золотодобывающей отрасли Казахстана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0896A04B-A040-4017-99D1-DD33A2934A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63093" y="6516456"/>
            <a:ext cx="663066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l" defTabSz="914400" rtl="0" eaLnBrk="1" latinLnBrk="0" hangingPunct="1">
              <a:defRPr lang="en-GB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ru-RU" dirty="0"/>
              <a:t>Страница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57198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1" r:id="rId1"/>
    <p:sldLayoutId id="2147484182" r:id="rId2"/>
    <p:sldLayoutId id="2147484183" r:id="rId3"/>
    <p:sldLayoutId id="2147484184" r:id="rId4"/>
    <p:sldLayoutId id="2147484185" r:id="rId5"/>
    <p:sldLayoutId id="2147484186" r:id="rId6"/>
    <p:sldLayoutId id="2147484187" r:id="rId7"/>
    <p:sldLayoutId id="2147484188" r:id="rId8"/>
    <p:sldLayoutId id="2147484189" r:id="rId9"/>
    <p:sldLayoutId id="2147484190" r:id="rId10"/>
    <p:sldLayoutId id="2147484191" r:id="rId11"/>
    <p:sldLayoutId id="2147484192" r:id="rId12"/>
    <p:sldLayoutId id="2147484193" r:id="rId13"/>
    <p:sldLayoutId id="2147484194" r:id="rId14"/>
    <p:sldLayoutId id="2147484195" r:id="rId15"/>
    <p:sldLayoutId id="2147484196" r:id="rId16"/>
    <p:sldLayoutId id="2147484197" r:id="rId17"/>
    <p:sldLayoutId id="2147484198" r:id="rId18"/>
    <p:sldLayoutId id="2147484199" r:id="rId19"/>
    <p:sldLayoutId id="2147484200" r:id="rId20"/>
    <p:sldLayoutId id="2147484201" r:id="rId21"/>
    <p:sldLayoutId id="2147484202" r:id="rId22"/>
    <p:sldLayoutId id="2147484203" r:id="rId23"/>
    <p:sldLayoutId id="2147484204" r:id="rId24"/>
    <p:sldLayoutId id="2147484205" r:id="rId25"/>
    <p:sldLayoutId id="2147484206" r:id="rId26"/>
    <p:sldLayoutId id="2147484207" r:id="rId27"/>
    <p:sldLayoutId id="2147484208" r:id="rId28"/>
    <p:sldLayoutId id="2147484209" r:id="rId29"/>
    <p:sldLayoutId id="2147484210" r:id="rId30"/>
    <p:sldLayoutId id="2147484211" r:id="rId31"/>
    <p:sldLayoutId id="2147484212" r:id="rId32"/>
    <p:sldLayoutId id="2147484213" r:id="rId33"/>
    <p:sldLayoutId id="2147484214" r:id="rId34"/>
  </p:sldLayoutIdLst>
  <p:hf hdr="0"/>
  <p:txStyles>
    <p:titleStyle>
      <a:lvl1pPr algn="l" defTabSz="685434" rtl="0" eaLnBrk="1" latinLnBrk="0" hangingPunct="1">
        <a:lnSpc>
          <a:spcPct val="85000"/>
        </a:lnSpc>
        <a:spcBef>
          <a:spcPct val="0"/>
        </a:spcBef>
        <a:buNone/>
        <a:defRPr sz="2100" b="1" kern="1200">
          <a:solidFill>
            <a:schemeClr val="bg1"/>
          </a:solidFill>
          <a:latin typeface="EYInterstate" panose="02000503020000020004" pitchFamily="2" charset="0"/>
          <a:ea typeface="+mj-ea"/>
          <a:cs typeface="Arial" pitchFamily="34" charset="0"/>
        </a:defRPr>
      </a:lvl1pPr>
    </p:titleStyle>
    <p:bodyStyle>
      <a:lvl1pPr marL="267319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20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534639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8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801958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6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069277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336597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1884944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6pPr>
      <a:lvl7pPr marL="2227661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7pPr>
      <a:lvl8pPr marL="2570378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8pPr>
      <a:lvl9pPr marL="2913096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17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434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151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868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586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303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9020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1737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1D7C2B8-178B-4429-946C-B357DDA719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2605636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Slide" r:id="rId38" imgW="395" imgH="394" progId="TCLayout.ActiveDocument.1">
                  <p:embed/>
                </p:oleObj>
              </mc:Choice>
              <mc:Fallback>
                <p:oleObj name="think-cell Slide" r:id="rId38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1D7C2B8-178B-4429-946C-B357DDA719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BB509FF-FB6D-4B05-B320-9DBB954A4B59}"/>
              </a:ext>
            </a:extLst>
          </p:cNvPr>
          <p:cNvSpPr/>
          <p:nvPr userDrawn="1">
            <p:custDataLst>
              <p:tags r:id="rId3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137920"/>
            <a:ext cx="82296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grpSp>
        <p:nvGrpSpPr>
          <p:cNvPr id="21" name="Group 4">
            <a:extLst>
              <a:ext uri="{FF2B5EF4-FFF2-40B4-BE49-F238E27FC236}">
                <a16:creationId xmlns:a16="http://schemas.microsoft.com/office/drawing/2014/main" id="{070143FB-B49A-43B9-BDD0-6B34F1305A6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284464" y="6327648"/>
            <a:ext cx="402336" cy="412867"/>
            <a:chOff x="7110" y="4004"/>
            <a:chExt cx="191" cy="196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D9BF2560-A8D8-44C9-8115-BCB5085894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56D2A493-73F6-40BA-A4BE-DAEC44F3A2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C09A7C37-C954-457F-B80C-7BC99BEAE3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1CDCB3BA-A513-4554-9E26-04ABDDC121E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11F648E2-661C-4A8C-A2ED-1444A87C1310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658F79CF-3FBE-4C25-8F3A-14054DB24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21561" y="6516456"/>
            <a:ext cx="3496682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0896A04B-A040-4017-99D1-DD33A2934A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63093" y="6516456"/>
            <a:ext cx="663066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l" defTabSz="914400" rtl="0" eaLnBrk="1" latinLnBrk="0" hangingPunct="1">
              <a:defRPr lang="en-GB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ru-RU" dirty="0"/>
              <a:t>Стр.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665975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4" r:id="rId1"/>
    <p:sldLayoutId id="2147483851" r:id="rId2"/>
    <p:sldLayoutId id="2147483852" r:id="rId3"/>
    <p:sldLayoutId id="2147483906" r:id="rId4"/>
    <p:sldLayoutId id="2147483853" r:id="rId5"/>
    <p:sldLayoutId id="2147483854" r:id="rId6"/>
    <p:sldLayoutId id="2147483855" r:id="rId7"/>
    <p:sldLayoutId id="2147483856" r:id="rId8"/>
    <p:sldLayoutId id="2147484111" r:id="rId9"/>
    <p:sldLayoutId id="2147483857" r:id="rId10"/>
    <p:sldLayoutId id="2147483858" r:id="rId11"/>
    <p:sldLayoutId id="2147483859" r:id="rId12"/>
    <p:sldLayoutId id="2147483860" r:id="rId13"/>
    <p:sldLayoutId id="2147483861" r:id="rId14"/>
    <p:sldLayoutId id="2147483862" r:id="rId15"/>
    <p:sldLayoutId id="2147483863" r:id="rId16"/>
    <p:sldLayoutId id="2147483864" r:id="rId17"/>
    <p:sldLayoutId id="2147483884" r:id="rId18"/>
    <p:sldLayoutId id="2147483886" r:id="rId19"/>
    <p:sldLayoutId id="2147483865" r:id="rId20"/>
    <p:sldLayoutId id="2147483866" r:id="rId21"/>
    <p:sldLayoutId id="2147483867" r:id="rId22"/>
    <p:sldLayoutId id="2147483868" r:id="rId23"/>
    <p:sldLayoutId id="2147483869" r:id="rId24"/>
    <p:sldLayoutId id="2147483870" r:id="rId25"/>
    <p:sldLayoutId id="2147483871" r:id="rId26"/>
    <p:sldLayoutId id="2147483872" r:id="rId27"/>
    <p:sldLayoutId id="2147483873" r:id="rId28"/>
    <p:sldLayoutId id="2147483874" r:id="rId29"/>
    <p:sldLayoutId id="2147483891" r:id="rId30"/>
    <p:sldLayoutId id="2147483876" r:id="rId31"/>
    <p:sldLayoutId id="2147483882" r:id="rId32"/>
    <p:sldLayoutId id="2147483895" r:id="rId33"/>
  </p:sldLayoutIdLst>
  <p:hf hdr="0"/>
  <p:txStyles>
    <p:titleStyle>
      <a:lvl1pPr algn="l" defTabSz="685434" rtl="0" eaLnBrk="1" latinLnBrk="0" hangingPunct="1">
        <a:lnSpc>
          <a:spcPct val="85000"/>
        </a:lnSpc>
        <a:spcBef>
          <a:spcPct val="0"/>
        </a:spcBef>
        <a:buNone/>
        <a:defRPr sz="2100" b="1" kern="1200">
          <a:solidFill>
            <a:schemeClr val="bg1"/>
          </a:solidFill>
          <a:latin typeface="EYInterstate" panose="02000503020000020004" pitchFamily="2" charset="0"/>
          <a:ea typeface="+mj-ea"/>
          <a:cs typeface="Arial" pitchFamily="34" charset="0"/>
        </a:defRPr>
      </a:lvl1pPr>
    </p:titleStyle>
    <p:bodyStyle>
      <a:lvl1pPr marL="267319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20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534639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8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801958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6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069277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336597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1884944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6pPr>
      <a:lvl7pPr marL="2227661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7pPr>
      <a:lvl8pPr marL="2570378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8pPr>
      <a:lvl9pPr marL="2913096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17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434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151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868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586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303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9020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1737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1D7C2B8-178B-4429-946C-B357DDA719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3765958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1" name="think-cell Slide" r:id="rId38" imgW="395" imgH="394" progId="TCLayout.ActiveDocument.1">
                  <p:embed/>
                </p:oleObj>
              </mc:Choice>
              <mc:Fallback>
                <p:oleObj name="think-cell Slide" r:id="rId38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1D7C2B8-178B-4429-946C-B357DDA719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BB509FF-FB6D-4B05-B320-9DBB954A4B59}"/>
              </a:ext>
            </a:extLst>
          </p:cNvPr>
          <p:cNvSpPr/>
          <p:nvPr userDrawn="1">
            <p:custDataLst>
              <p:tags r:id="rId3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137920"/>
            <a:ext cx="82296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grpSp>
        <p:nvGrpSpPr>
          <p:cNvPr id="21" name="Group 4">
            <a:extLst>
              <a:ext uri="{FF2B5EF4-FFF2-40B4-BE49-F238E27FC236}">
                <a16:creationId xmlns:a16="http://schemas.microsoft.com/office/drawing/2014/main" id="{070143FB-B49A-43B9-BDD0-6B34F1305A6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284464" y="6327648"/>
            <a:ext cx="402336" cy="412867"/>
            <a:chOff x="7110" y="4004"/>
            <a:chExt cx="191" cy="196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D9BF2560-A8D8-44C9-8115-BCB5085894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56D2A493-73F6-40BA-A4BE-DAEC44F3A2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C09A7C37-C954-457F-B80C-7BC99BEAE3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1CDCB3BA-A513-4554-9E26-04ABDDC121E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52FB119B-D05C-4620-96F8-B54E01BA2954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658F79CF-3FBE-4C25-8F3A-14054DB24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21561" y="6516456"/>
            <a:ext cx="3496682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0896A04B-A040-4017-99D1-DD33A2934A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63093" y="6516456"/>
            <a:ext cx="663066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l" defTabSz="914400" rtl="0" eaLnBrk="1" latinLnBrk="0" hangingPunct="1">
              <a:defRPr lang="en-GB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ru-RU" dirty="0"/>
              <a:t>Стр.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80097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09" r:id="rId2"/>
    <p:sldLayoutId id="2147483910" r:id="rId3"/>
    <p:sldLayoutId id="2147483911" r:id="rId4"/>
    <p:sldLayoutId id="2147483912" r:id="rId5"/>
    <p:sldLayoutId id="2147483913" r:id="rId6"/>
    <p:sldLayoutId id="2147483914" r:id="rId7"/>
    <p:sldLayoutId id="2147483915" r:id="rId8"/>
    <p:sldLayoutId id="2147483916" r:id="rId9"/>
    <p:sldLayoutId id="2147483917" r:id="rId10"/>
    <p:sldLayoutId id="2147483918" r:id="rId11"/>
    <p:sldLayoutId id="2147483919" r:id="rId12"/>
    <p:sldLayoutId id="2147483920" r:id="rId13"/>
    <p:sldLayoutId id="2147483921" r:id="rId14"/>
    <p:sldLayoutId id="2147483922" r:id="rId15"/>
    <p:sldLayoutId id="2147483923" r:id="rId16"/>
    <p:sldLayoutId id="2147483924" r:id="rId17"/>
    <p:sldLayoutId id="2147483925" r:id="rId18"/>
    <p:sldLayoutId id="2147483926" r:id="rId19"/>
    <p:sldLayoutId id="2147483927" r:id="rId20"/>
    <p:sldLayoutId id="2147483928" r:id="rId21"/>
    <p:sldLayoutId id="2147483929" r:id="rId22"/>
    <p:sldLayoutId id="2147483930" r:id="rId23"/>
    <p:sldLayoutId id="2147483931" r:id="rId24"/>
    <p:sldLayoutId id="2147483932" r:id="rId25"/>
    <p:sldLayoutId id="2147483933" r:id="rId26"/>
    <p:sldLayoutId id="2147483934" r:id="rId27"/>
    <p:sldLayoutId id="2147483935" r:id="rId28"/>
    <p:sldLayoutId id="2147483936" r:id="rId29"/>
    <p:sldLayoutId id="2147483937" r:id="rId30"/>
    <p:sldLayoutId id="2147483938" r:id="rId31"/>
    <p:sldLayoutId id="2147483939" r:id="rId32"/>
    <p:sldLayoutId id="2147483940" r:id="rId33"/>
  </p:sldLayoutIdLst>
  <p:hf hdr="0"/>
  <p:txStyles>
    <p:titleStyle>
      <a:lvl1pPr algn="l" defTabSz="685434" rtl="0" eaLnBrk="1" latinLnBrk="0" hangingPunct="1">
        <a:lnSpc>
          <a:spcPct val="85000"/>
        </a:lnSpc>
        <a:spcBef>
          <a:spcPct val="0"/>
        </a:spcBef>
        <a:buNone/>
        <a:defRPr sz="2100" b="1" kern="1200">
          <a:solidFill>
            <a:schemeClr val="bg1"/>
          </a:solidFill>
          <a:latin typeface="EYInterstate" panose="02000503020000020004" pitchFamily="2" charset="0"/>
          <a:ea typeface="+mj-ea"/>
          <a:cs typeface="Arial" pitchFamily="34" charset="0"/>
        </a:defRPr>
      </a:lvl1pPr>
    </p:titleStyle>
    <p:bodyStyle>
      <a:lvl1pPr marL="267319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20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534639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8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801958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6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069277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336597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1884944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6pPr>
      <a:lvl7pPr marL="2227661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7pPr>
      <a:lvl8pPr marL="2570378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8pPr>
      <a:lvl9pPr marL="2913096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17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434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151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868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586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303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9020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1737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1D7C2B8-178B-4429-946C-B357DDA719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226618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9" name="think-cell Slide" r:id="rId38" imgW="395" imgH="394" progId="TCLayout.ActiveDocument.1">
                  <p:embed/>
                </p:oleObj>
              </mc:Choice>
              <mc:Fallback>
                <p:oleObj name="think-cell Slide" r:id="rId38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1D7C2B8-178B-4429-946C-B357DDA719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BB509FF-FB6D-4B05-B320-9DBB954A4B59}"/>
              </a:ext>
            </a:extLst>
          </p:cNvPr>
          <p:cNvSpPr/>
          <p:nvPr userDrawn="1">
            <p:custDataLst>
              <p:tags r:id="rId3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137920"/>
            <a:ext cx="82296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21" name="Group 4">
            <a:extLst>
              <a:ext uri="{FF2B5EF4-FFF2-40B4-BE49-F238E27FC236}">
                <a16:creationId xmlns:a16="http://schemas.microsoft.com/office/drawing/2014/main" id="{070143FB-B49A-43B9-BDD0-6B34F1305A6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284464" y="6327648"/>
            <a:ext cx="402336" cy="412867"/>
            <a:chOff x="7110" y="4004"/>
            <a:chExt cx="191" cy="196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D9BF2560-A8D8-44C9-8115-BCB5085894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56D2A493-73F6-40BA-A4BE-DAEC44F3A2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C09A7C37-C954-457F-B80C-7BC99BEAE3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1CDCB3BA-A513-4554-9E26-04ABDDC121E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4234C51F-A48E-4B3D-A1A5-FEA58836E46D}" type="datetime3">
              <a:rPr lang="en-US" smtClean="0"/>
              <a:t>18 October 2021</a:t>
            </a:fld>
            <a:endParaRPr lang="en-IN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658F79CF-3FBE-4C25-8F3A-14054DB24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21561" y="6516456"/>
            <a:ext cx="3496682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0896A04B-A040-4017-99D1-DD33A2934A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63093" y="6516456"/>
            <a:ext cx="663066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l" defTabSz="914400" rtl="0" eaLnBrk="1" latinLnBrk="0" hangingPunct="1">
              <a:defRPr lang="en-GB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66868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2" r:id="rId1"/>
    <p:sldLayoutId id="2147483943" r:id="rId2"/>
    <p:sldLayoutId id="2147483944" r:id="rId3"/>
    <p:sldLayoutId id="2147483945" r:id="rId4"/>
    <p:sldLayoutId id="2147483946" r:id="rId5"/>
    <p:sldLayoutId id="2147483947" r:id="rId6"/>
    <p:sldLayoutId id="2147483948" r:id="rId7"/>
    <p:sldLayoutId id="2147483949" r:id="rId8"/>
    <p:sldLayoutId id="2147483950" r:id="rId9"/>
    <p:sldLayoutId id="2147483951" r:id="rId10"/>
    <p:sldLayoutId id="2147483952" r:id="rId11"/>
    <p:sldLayoutId id="2147483953" r:id="rId12"/>
    <p:sldLayoutId id="2147483954" r:id="rId13"/>
    <p:sldLayoutId id="2147483955" r:id="rId14"/>
    <p:sldLayoutId id="2147483956" r:id="rId15"/>
    <p:sldLayoutId id="2147483957" r:id="rId16"/>
    <p:sldLayoutId id="2147483958" r:id="rId17"/>
    <p:sldLayoutId id="2147483959" r:id="rId18"/>
    <p:sldLayoutId id="2147483960" r:id="rId19"/>
    <p:sldLayoutId id="2147483961" r:id="rId20"/>
    <p:sldLayoutId id="2147483962" r:id="rId21"/>
    <p:sldLayoutId id="2147483963" r:id="rId22"/>
    <p:sldLayoutId id="2147483964" r:id="rId23"/>
    <p:sldLayoutId id="2147483965" r:id="rId24"/>
    <p:sldLayoutId id="2147483966" r:id="rId25"/>
    <p:sldLayoutId id="2147483967" r:id="rId26"/>
    <p:sldLayoutId id="2147483968" r:id="rId27"/>
    <p:sldLayoutId id="2147483969" r:id="rId28"/>
    <p:sldLayoutId id="2147483970" r:id="rId29"/>
    <p:sldLayoutId id="2147483971" r:id="rId30"/>
    <p:sldLayoutId id="2147483972" r:id="rId31"/>
    <p:sldLayoutId id="2147483973" r:id="rId32"/>
    <p:sldLayoutId id="2147483974" r:id="rId33"/>
  </p:sldLayoutIdLst>
  <p:hf hdr="0"/>
  <p:txStyles>
    <p:titleStyle>
      <a:lvl1pPr algn="l" defTabSz="685434" rtl="0" eaLnBrk="1" latinLnBrk="0" hangingPunct="1">
        <a:lnSpc>
          <a:spcPct val="85000"/>
        </a:lnSpc>
        <a:spcBef>
          <a:spcPct val="0"/>
        </a:spcBef>
        <a:buNone/>
        <a:defRPr sz="2400" b="1" kern="1200">
          <a:solidFill>
            <a:schemeClr val="bg1"/>
          </a:solidFill>
          <a:latin typeface="EYInterstate" panose="02000503020000020004" pitchFamily="2" charset="0"/>
          <a:ea typeface="+mj-ea"/>
          <a:cs typeface="Arial" pitchFamily="34" charset="0"/>
        </a:defRPr>
      </a:lvl1pPr>
    </p:titleStyle>
    <p:bodyStyle>
      <a:lvl1pPr marL="267319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20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534639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8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801958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6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069277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336597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1884944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6pPr>
      <a:lvl7pPr marL="2227661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7pPr>
      <a:lvl8pPr marL="2570378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8pPr>
      <a:lvl9pPr marL="2913096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17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434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151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868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586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303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9020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1737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1D7C2B8-178B-4429-946C-B357DDA719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4121023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7" name="think-cell Slide" r:id="rId38" imgW="395" imgH="394" progId="TCLayout.ActiveDocument.1">
                  <p:embed/>
                </p:oleObj>
              </mc:Choice>
              <mc:Fallback>
                <p:oleObj name="think-cell Slide" r:id="rId38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1D7C2B8-178B-4429-946C-B357DDA719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BB509FF-FB6D-4B05-B320-9DBB954A4B59}"/>
              </a:ext>
            </a:extLst>
          </p:cNvPr>
          <p:cNvSpPr/>
          <p:nvPr userDrawn="1">
            <p:custDataLst>
              <p:tags r:id="rId3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137920"/>
            <a:ext cx="82296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21" name="Group 4">
            <a:extLst>
              <a:ext uri="{FF2B5EF4-FFF2-40B4-BE49-F238E27FC236}">
                <a16:creationId xmlns:a16="http://schemas.microsoft.com/office/drawing/2014/main" id="{070143FB-B49A-43B9-BDD0-6B34F1305A6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284464" y="6327648"/>
            <a:ext cx="402336" cy="412867"/>
            <a:chOff x="7110" y="4004"/>
            <a:chExt cx="191" cy="196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D9BF2560-A8D8-44C9-8115-BCB5085894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56D2A493-73F6-40BA-A4BE-DAEC44F3A2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C09A7C37-C954-457F-B80C-7BC99BEAE3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1CDCB3BA-A513-4554-9E26-04ABDDC121E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F449E35A-03DA-4023-862C-ADA2CB137033}" type="datetime3">
              <a:rPr lang="en-US" smtClean="0"/>
              <a:t>18 October 2021</a:t>
            </a:fld>
            <a:endParaRPr lang="en-IN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658F79CF-3FBE-4C25-8F3A-14054DB24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21561" y="6516456"/>
            <a:ext cx="3496682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0896A04B-A040-4017-99D1-DD33A2934A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63093" y="6516456"/>
            <a:ext cx="663066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l" defTabSz="914400" rtl="0" eaLnBrk="1" latinLnBrk="0" hangingPunct="1">
              <a:defRPr lang="en-GB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9575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6" r:id="rId1"/>
    <p:sldLayoutId id="2147483977" r:id="rId2"/>
    <p:sldLayoutId id="2147483978" r:id="rId3"/>
    <p:sldLayoutId id="2147483979" r:id="rId4"/>
    <p:sldLayoutId id="2147483980" r:id="rId5"/>
    <p:sldLayoutId id="2147483981" r:id="rId6"/>
    <p:sldLayoutId id="2147483982" r:id="rId7"/>
    <p:sldLayoutId id="2147483983" r:id="rId8"/>
    <p:sldLayoutId id="2147483984" r:id="rId9"/>
    <p:sldLayoutId id="2147483985" r:id="rId10"/>
    <p:sldLayoutId id="2147483986" r:id="rId11"/>
    <p:sldLayoutId id="2147483987" r:id="rId12"/>
    <p:sldLayoutId id="2147483988" r:id="rId13"/>
    <p:sldLayoutId id="2147483989" r:id="rId14"/>
    <p:sldLayoutId id="2147483990" r:id="rId15"/>
    <p:sldLayoutId id="2147483991" r:id="rId16"/>
    <p:sldLayoutId id="2147483992" r:id="rId17"/>
    <p:sldLayoutId id="2147483993" r:id="rId18"/>
    <p:sldLayoutId id="2147483994" r:id="rId19"/>
    <p:sldLayoutId id="2147483995" r:id="rId20"/>
    <p:sldLayoutId id="2147483996" r:id="rId21"/>
    <p:sldLayoutId id="2147483997" r:id="rId22"/>
    <p:sldLayoutId id="2147483998" r:id="rId23"/>
    <p:sldLayoutId id="2147483999" r:id="rId24"/>
    <p:sldLayoutId id="2147484000" r:id="rId25"/>
    <p:sldLayoutId id="2147484001" r:id="rId26"/>
    <p:sldLayoutId id="2147484002" r:id="rId27"/>
    <p:sldLayoutId id="2147484003" r:id="rId28"/>
    <p:sldLayoutId id="2147484004" r:id="rId29"/>
    <p:sldLayoutId id="2147484005" r:id="rId30"/>
    <p:sldLayoutId id="2147484006" r:id="rId31"/>
    <p:sldLayoutId id="2147484007" r:id="rId32"/>
    <p:sldLayoutId id="2147484008" r:id="rId33"/>
  </p:sldLayoutIdLst>
  <p:hf hdr="0"/>
  <p:txStyles>
    <p:titleStyle>
      <a:lvl1pPr algn="l" defTabSz="685434" rtl="0" eaLnBrk="1" latinLnBrk="0" hangingPunct="1">
        <a:lnSpc>
          <a:spcPct val="85000"/>
        </a:lnSpc>
        <a:spcBef>
          <a:spcPct val="0"/>
        </a:spcBef>
        <a:buNone/>
        <a:defRPr sz="2400" b="1" kern="1200">
          <a:solidFill>
            <a:schemeClr val="bg1"/>
          </a:solidFill>
          <a:latin typeface="EYInterstate" panose="02000503020000020004" pitchFamily="2" charset="0"/>
          <a:ea typeface="+mj-ea"/>
          <a:cs typeface="Arial" pitchFamily="34" charset="0"/>
        </a:defRPr>
      </a:lvl1pPr>
    </p:titleStyle>
    <p:bodyStyle>
      <a:lvl1pPr marL="267319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20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534639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8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801958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6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069277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336597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1884944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6pPr>
      <a:lvl7pPr marL="2227661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7pPr>
      <a:lvl8pPr marL="2570378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8pPr>
      <a:lvl9pPr marL="2913096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17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434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151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868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586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303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9020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1737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1D7C2B8-178B-4429-946C-B357DDA719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11199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5" name="think-cell Slide" r:id="rId38" imgW="395" imgH="394" progId="TCLayout.ActiveDocument.1">
                  <p:embed/>
                </p:oleObj>
              </mc:Choice>
              <mc:Fallback>
                <p:oleObj name="think-cell Slide" r:id="rId38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1D7C2B8-178B-4429-946C-B357DDA719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BB509FF-FB6D-4B05-B320-9DBB954A4B59}"/>
              </a:ext>
            </a:extLst>
          </p:cNvPr>
          <p:cNvSpPr/>
          <p:nvPr userDrawn="1">
            <p:custDataLst>
              <p:tags r:id="rId3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137920"/>
            <a:ext cx="82296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21" name="Group 4">
            <a:extLst>
              <a:ext uri="{FF2B5EF4-FFF2-40B4-BE49-F238E27FC236}">
                <a16:creationId xmlns:a16="http://schemas.microsoft.com/office/drawing/2014/main" id="{070143FB-B49A-43B9-BDD0-6B34F1305A6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284464" y="6327648"/>
            <a:ext cx="402336" cy="412867"/>
            <a:chOff x="7110" y="4004"/>
            <a:chExt cx="191" cy="196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D9BF2560-A8D8-44C9-8115-BCB5085894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56D2A493-73F6-40BA-A4BE-DAEC44F3A2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C09A7C37-C954-457F-B80C-7BC99BEAE3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1CDCB3BA-A513-4554-9E26-04ABDDC121E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A8A13642-B785-4189-BF5E-47213BDCDE52}" type="datetime3">
              <a:rPr lang="en-US" smtClean="0"/>
              <a:t>18 October 2021</a:t>
            </a:fld>
            <a:endParaRPr lang="en-IN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658F79CF-3FBE-4C25-8F3A-14054DB24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21561" y="6516456"/>
            <a:ext cx="3496682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0896A04B-A040-4017-99D1-DD33A2934A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63093" y="6516456"/>
            <a:ext cx="663066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l" defTabSz="914400" rtl="0" eaLnBrk="1" latinLnBrk="0" hangingPunct="1">
              <a:defRPr lang="en-GB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05215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0" r:id="rId1"/>
    <p:sldLayoutId id="2147484011" r:id="rId2"/>
    <p:sldLayoutId id="2147484012" r:id="rId3"/>
    <p:sldLayoutId id="2147484013" r:id="rId4"/>
    <p:sldLayoutId id="2147484014" r:id="rId5"/>
    <p:sldLayoutId id="2147484015" r:id="rId6"/>
    <p:sldLayoutId id="2147484016" r:id="rId7"/>
    <p:sldLayoutId id="2147484017" r:id="rId8"/>
    <p:sldLayoutId id="2147484018" r:id="rId9"/>
    <p:sldLayoutId id="2147484019" r:id="rId10"/>
    <p:sldLayoutId id="2147484020" r:id="rId11"/>
    <p:sldLayoutId id="2147484021" r:id="rId12"/>
    <p:sldLayoutId id="2147484022" r:id="rId13"/>
    <p:sldLayoutId id="2147484023" r:id="rId14"/>
    <p:sldLayoutId id="2147484024" r:id="rId15"/>
    <p:sldLayoutId id="2147484025" r:id="rId16"/>
    <p:sldLayoutId id="2147484026" r:id="rId17"/>
    <p:sldLayoutId id="2147484027" r:id="rId18"/>
    <p:sldLayoutId id="2147484028" r:id="rId19"/>
    <p:sldLayoutId id="2147484029" r:id="rId20"/>
    <p:sldLayoutId id="2147484030" r:id="rId21"/>
    <p:sldLayoutId id="2147484031" r:id="rId22"/>
    <p:sldLayoutId id="2147484032" r:id="rId23"/>
    <p:sldLayoutId id="2147484033" r:id="rId24"/>
    <p:sldLayoutId id="2147484034" r:id="rId25"/>
    <p:sldLayoutId id="2147484035" r:id="rId26"/>
    <p:sldLayoutId id="2147484036" r:id="rId27"/>
    <p:sldLayoutId id="2147484037" r:id="rId28"/>
    <p:sldLayoutId id="2147484038" r:id="rId29"/>
    <p:sldLayoutId id="2147484039" r:id="rId30"/>
    <p:sldLayoutId id="2147484040" r:id="rId31"/>
    <p:sldLayoutId id="2147484041" r:id="rId32"/>
    <p:sldLayoutId id="2147484042" r:id="rId33"/>
  </p:sldLayoutIdLst>
  <p:hf hdr="0"/>
  <p:txStyles>
    <p:titleStyle>
      <a:lvl1pPr algn="l" defTabSz="685434" rtl="0" eaLnBrk="1" latinLnBrk="0" hangingPunct="1">
        <a:lnSpc>
          <a:spcPct val="85000"/>
        </a:lnSpc>
        <a:spcBef>
          <a:spcPct val="0"/>
        </a:spcBef>
        <a:buNone/>
        <a:defRPr sz="2400" b="1" kern="1200">
          <a:solidFill>
            <a:schemeClr val="bg1"/>
          </a:solidFill>
          <a:latin typeface="EYInterstate" panose="02000503020000020004" pitchFamily="2" charset="0"/>
          <a:ea typeface="+mj-ea"/>
          <a:cs typeface="Arial" pitchFamily="34" charset="0"/>
        </a:defRPr>
      </a:lvl1pPr>
    </p:titleStyle>
    <p:bodyStyle>
      <a:lvl1pPr marL="267319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20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534639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8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801958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6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069277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336597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1884944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6pPr>
      <a:lvl7pPr marL="2227661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7pPr>
      <a:lvl8pPr marL="2570378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8pPr>
      <a:lvl9pPr marL="2913096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17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434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151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868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586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303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9020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1737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1D7C2B8-178B-4429-946C-B357DDA719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3735399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3" name="think-cell Slide" r:id="rId38" imgW="395" imgH="394" progId="TCLayout.ActiveDocument.1">
                  <p:embed/>
                </p:oleObj>
              </mc:Choice>
              <mc:Fallback>
                <p:oleObj name="think-cell Slide" r:id="rId38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1D7C2B8-178B-4429-946C-B357DDA719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BB509FF-FB6D-4B05-B320-9DBB954A4B59}"/>
              </a:ext>
            </a:extLst>
          </p:cNvPr>
          <p:cNvSpPr/>
          <p:nvPr userDrawn="1">
            <p:custDataLst>
              <p:tags r:id="rId3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137920"/>
            <a:ext cx="82296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21" name="Group 4">
            <a:extLst>
              <a:ext uri="{FF2B5EF4-FFF2-40B4-BE49-F238E27FC236}">
                <a16:creationId xmlns:a16="http://schemas.microsoft.com/office/drawing/2014/main" id="{070143FB-B49A-43B9-BDD0-6B34F1305A6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284464" y="6327648"/>
            <a:ext cx="402336" cy="412867"/>
            <a:chOff x="7110" y="4004"/>
            <a:chExt cx="191" cy="196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D9BF2560-A8D8-44C9-8115-BCB5085894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56D2A493-73F6-40BA-A4BE-DAEC44F3A2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C09A7C37-C954-457F-B80C-7BC99BEAE3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1CDCB3BA-A513-4554-9E26-04ABDDC121E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B0AF0F3B-FB1F-4351-9678-293B1F956FB1}" type="datetime3">
              <a:rPr lang="en-US" smtClean="0"/>
              <a:t>18 October 2021</a:t>
            </a:fld>
            <a:endParaRPr lang="en-IN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658F79CF-3FBE-4C25-8F3A-14054DB24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21561" y="6516456"/>
            <a:ext cx="3496682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0896A04B-A040-4017-99D1-DD33A2934A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63093" y="6516456"/>
            <a:ext cx="663066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l" defTabSz="914400" rtl="0" eaLnBrk="1" latinLnBrk="0" hangingPunct="1">
              <a:defRPr lang="en-GB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862554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4" r:id="rId1"/>
    <p:sldLayoutId id="2147484045" r:id="rId2"/>
    <p:sldLayoutId id="2147484046" r:id="rId3"/>
    <p:sldLayoutId id="2147484047" r:id="rId4"/>
    <p:sldLayoutId id="2147484048" r:id="rId5"/>
    <p:sldLayoutId id="2147484049" r:id="rId6"/>
    <p:sldLayoutId id="2147484050" r:id="rId7"/>
    <p:sldLayoutId id="2147484051" r:id="rId8"/>
    <p:sldLayoutId id="2147484052" r:id="rId9"/>
    <p:sldLayoutId id="2147484053" r:id="rId10"/>
    <p:sldLayoutId id="2147484054" r:id="rId11"/>
    <p:sldLayoutId id="2147484055" r:id="rId12"/>
    <p:sldLayoutId id="2147484056" r:id="rId13"/>
    <p:sldLayoutId id="2147484057" r:id="rId14"/>
    <p:sldLayoutId id="2147484058" r:id="rId15"/>
    <p:sldLayoutId id="2147484059" r:id="rId16"/>
    <p:sldLayoutId id="2147484060" r:id="rId17"/>
    <p:sldLayoutId id="2147484061" r:id="rId18"/>
    <p:sldLayoutId id="2147484062" r:id="rId19"/>
    <p:sldLayoutId id="2147484063" r:id="rId20"/>
    <p:sldLayoutId id="2147484064" r:id="rId21"/>
    <p:sldLayoutId id="2147484065" r:id="rId22"/>
    <p:sldLayoutId id="2147484066" r:id="rId23"/>
    <p:sldLayoutId id="2147484067" r:id="rId24"/>
    <p:sldLayoutId id="2147484068" r:id="rId25"/>
    <p:sldLayoutId id="2147484069" r:id="rId26"/>
    <p:sldLayoutId id="2147484070" r:id="rId27"/>
    <p:sldLayoutId id="2147484071" r:id="rId28"/>
    <p:sldLayoutId id="2147484072" r:id="rId29"/>
    <p:sldLayoutId id="2147484073" r:id="rId30"/>
    <p:sldLayoutId id="2147484074" r:id="rId31"/>
    <p:sldLayoutId id="2147484075" r:id="rId32"/>
    <p:sldLayoutId id="2147484076" r:id="rId33"/>
  </p:sldLayoutIdLst>
  <p:hf hdr="0"/>
  <p:txStyles>
    <p:titleStyle>
      <a:lvl1pPr algn="l" defTabSz="685434" rtl="0" eaLnBrk="1" latinLnBrk="0" hangingPunct="1">
        <a:lnSpc>
          <a:spcPct val="85000"/>
        </a:lnSpc>
        <a:spcBef>
          <a:spcPct val="0"/>
        </a:spcBef>
        <a:buNone/>
        <a:defRPr sz="2400" b="1" kern="1200">
          <a:solidFill>
            <a:schemeClr val="bg1"/>
          </a:solidFill>
          <a:latin typeface="EYInterstate" panose="02000503020000020004" pitchFamily="2" charset="0"/>
          <a:ea typeface="+mj-ea"/>
          <a:cs typeface="Arial" pitchFamily="34" charset="0"/>
        </a:defRPr>
      </a:lvl1pPr>
    </p:titleStyle>
    <p:bodyStyle>
      <a:lvl1pPr marL="267319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20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534639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8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801958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6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069277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336597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1884944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6pPr>
      <a:lvl7pPr marL="2227661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7pPr>
      <a:lvl8pPr marL="2570378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8pPr>
      <a:lvl9pPr marL="2913096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17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434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151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868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586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303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9020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1737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1D7C2B8-178B-4429-946C-B357DDA719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19612567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1" name="think-cell Slide" r:id="rId37" imgW="395" imgH="394" progId="TCLayout.ActiveDocument.1">
                  <p:embed/>
                </p:oleObj>
              </mc:Choice>
              <mc:Fallback>
                <p:oleObj name="think-cell Slide" r:id="rId3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1D7C2B8-178B-4429-946C-B357DDA719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BB509FF-FB6D-4B05-B320-9DBB954A4B59}"/>
              </a:ext>
            </a:extLst>
          </p:cNvPr>
          <p:cNvSpPr/>
          <p:nvPr userDrawn="1">
            <p:custDataLst>
              <p:tags r:id="rId3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137920"/>
            <a:ext cx="82296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21" name="Group 4">
            <a:extLst>
              <a:ext uri="{FF2B5EF4-FFF2-40B4-BE49-F238E27FC236}">
                <a16:creationId xmlns:a16="http://schemas.microsoft.com/office/drawing/2014/main" id="{070143FB-B49A-43B9-BDD0-6B34F1305A6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284464" y="6327648"/>
            <a:ext cx="402336" cy="412867"/>
            <a:chOff x="7110" y="4004"/>
            <a:chExt cx="191" cy="196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D9BF2560-A8D8-44C9-8115-BCB5085894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56D2A493-73F6-40BA-A4BE-DAEC44F3A2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C09A7C37-C954-457F-B80C-7BC99BEAE3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1CDCB3BA-A513-4554-9E26-04ABDDC121E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3D652600-48AC-49B5-9531-9AE934D3A5DA}" type="datetime3">
              <a:rPr lang="en-US" smtClean="0"/>
              <a:t>18 October 2021</a:t>
            </a:fld>
            <a:endParaRPr lang="en-IN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658F79CF-3FBE-4C25-8F3A-14054DB24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21561" y="6516456"/>
            <a:ext cx="3496682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0896A04B-A040-4017-99D1-DD33A2934A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63093" y="6516456"/>
            <a:ext cx="663066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l" defTabSz="914400" rtl="0" eaLnBrk="1" latinLnBrk="0" hangingPunct="1">
              <a:defRPr lang="en-GB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856500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8" r:id="rId1"/>
    <p:sldLayoutId id="2147484079" r:id="rId2"/>
    <p:sldLayoutId id="2147484080" r:id="rId3"/>
    <p:sldLayoutId id="2147484081" r:id="rId4"/>
    <p:sldLayoutId id="2147484082" r:id="rId5"/>
    <p:sldLayoutId id="2147484083" r:id="rId6"/>
    <p:sldLayoutId id="2147484084" r:id="rId7"/>
    <p:sldLayoutId id="2147484085" r:id="rId8"/>
    <p:sldLayoutId id="2147484086" r:id="rId9"/>
    <p:sldLayoutId id="2147484087" r:id="rId10"/>
    <p:sldLayoutId id="2147484088" r:id="rId11"/>
    <p:sldLayoutId id="2147484089" r:id="rId12"/>
    <p:sldLayoutId id="2147484090" r:id="rId13"/>
    <p:sldLayoutId id="2147484091" r:id="rId14"/>
    <p:sldLayoutId id="2147484092" r:id="rId15"/>
    <p:sldLayoutId id="2147484093" r:id="rId16"/>
    <p:sldLayoutId id="2147484094" r:id="rId17"/>
    <p:sldLayoutId id="2147484095" r:id="rId18"/>
    <p:sldLayoutId id="2147484096" r:id="rId19"/>
    <p:sldLayoutId id="2147484097" r:id="rId20"/>
    <p:sldLayoutId id="2147484098" r:id="rId21"/>
    <p:sldLayoutId id="2147484099" r:id="rId22"/>
    <p:sldLayoutId id="2147484100" r:id="rId23"/>
    <p:sldLayoutId id="2147484101" r:id="rId24"/>
    <p:sldLayoutId id="2147484102" r:id="rId25"/>
    <p:sldLayoutId id="2147484103" r:id="rId26"/>
    <p:sldLayoutId id="2147484104" r:id="rId27"/>
    <p:sldLayoutId id="2147484105" r:id="rId28"/>
    <p:sldLayoutId id="2147484106" r:id="rId29"/>
    <p:sldLayoutId id="2147484107" r:id="rId30"/>
    <p:sldLayoutId id="2147484109" r:id="rId31"/>
    <p:sldLayoutId id="2147484110" r:id="rId32"/>
  </p:sldLayoutIdLst>
  <p:hf hdr="0"/>
  <p:txStyles>
    <p:titleStyle>
      <a:lvl1pPr algn="l" defTabSz="685434" rtl="0" eaLnBrk="1" latinLnBrk="0" hangingPunct="1">
        <a:lnSpc>
          <a:spcPct val="85000"/>
        </a:lnSpc>
        <a:spcBef>
          <a:spcPct val="0"/>
        </a:spcBef>
        <a:buNone/>
        <a:defRPr sz="2400" b="1" kern="1200">
          <a:solidFill>
            <a:schemeClr val="bg1"/>
          </a:solidFill>
          <a:latin typeface="EYInterstate" panose="02000503020000020004" pitchFamily="2" charset="0"/>
          <a:ea typeface="+mj-ea"/>
          <a:cs typeface="Arial" pitchFamily="34" charset="0"/>
        </a:defRPr>
      </a:lvl1pPr>
    </p:titleStyle>
    <p:bodyStyle>
      <a:lvl1pPr marL="267319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20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534639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8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801958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6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069277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336597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1884944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6pPr>
      <a:lvl7pPr marL="2227661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7pPr>
      <a:lvl8pPr marL="2570378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8pPr>
      <a:lvl9pPr marL="2913096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17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434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151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868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586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303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9020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1737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1D7C2B8-178B-4429-946C-B357DDA719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40600470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9" name="think-cell Slide" r:id="rId38" imgW="395" imgH="394" progId="TCLayout.ActiveDocument.1">
                  <p:embed/>
                </p:oleObj>
              </mc:Choice>
              <mc:Fallback>
                <p:oleObj name="think-cell Slide" r:id="rId38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1D7C2B8-178B-4429-946C-B357DDA719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BB509FF-FB6D-4B05-B320-9DBB954A4B59}"/>
              </a:ext>
            </a:extLst>
          </p:cNvPr>
          <p:cNvSpPr/>
          <p:nvPr userDrawn="1">
            <p:custDataLst>
              <p:tags r:id="rId37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1575" b="1" i="0" baseline="0" dirty="0">
              <a:solidFill>
                <a:schemeClr val="tx1"/>
              </a:solidFill>
              <a:latin typeface="EYInterstate" panose="02000503020000020004" pitchFamily="2" charset="0"/>
              <a:ea typeface="+mj-ea"/>
              <a:cs typeface="Arial" panose="020B0604020202020204" pitchFamily="34" charset="0"/>
              <a:sym typeface="EYInterstate" panose="02000503020000020004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137920"/>
            <a:ext cx="82296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grpSp>
        <p:nvGrpSpPr>
          <p:cNvPr id="21" name="Group 4">
            <a:extLst>
              <a:ext uri="{FF2B5EF4-FFF2-40B4-BE49-F238E27FC236}">
                <a16:creationId xmlns:a16="http://schemas.microsoft.com/office/drawing/2014/main" id="{070143FB-B49A-43B9-BDD0-6B34F1305A6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284464" y="6327650"/>
            <a:ext cx="402336" cy="412867"/>
            <a:chOff x="7110" y="4004"/>
            <a:chExt cx="191" cy="196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D9BF2560-A8D8-44C9-8115-BCB5085894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50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56D2A493-73F6-40BA-A4BE-DAEC44F3A2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50"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C09A7C37-C954-457F-B80C-7BC99BEAE3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50"/>
            </a:p>
          </p:txBody>
        </p:sp>
      </p:grp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1CDCB3BA-A513-4554-9E26-04ABDDC121E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92301" y="6516456"/>
            <a:ext cx="1191258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l" defTabSz="685800" rtl="0" eaLnBrk="1" latinLnBrk="0" hangingPunct="1">
              <a:defRPr lang="en-IN" sz="6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11F648E2-661C-4A8C-A2ED-1444A87C1310}" type="datetime3">
              <a:rPr lang="en-US" smtClean="0"/>
              <a:t>18 October 2021</a:t>
            </a:fld>
            <a:endParaRPr lang="en-IN" dirty="0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658F79CF-3FBE-4C25-8F3A-14054DB24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21562" y="6516456"/>
            <a:ext cx="3496682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l" defTabSz="685800" rtl="0" eaLnBrk="1" latinLnBrk="0" hangingPunct="1">
              <a:defRPr lang="en-IN" sz="6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ru-RU" dirty="0"/>
              <a:t>Анализ вклада отрасли добычи и переработки золота в экономику и социальное развитие Республики Казахстан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0896A04B-A040-4017-99D1-DD33A2934A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63093" y="6516456"/>
            <a:ext cx="663066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l" defTabSz="685800" rtl="0" eaLnBrk="1" latinLnBrk="0" hangingPunct="1">
              <a:defRPr lang="en-GB" sz="6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ru-RU" dirty="0"/>
              <a:t>Стр.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124867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3" r:id="rId1"/>
    <p:sldLayoutId id="2147484114" r:id="rId2"/>
    <p:sldLayoutId id="2147484115" r:id="rId3"/>
    <p:sldLayoutId id="2147484116" r:id="rId4"/>
    <p:sldLayoutId id="2147484117" r:id="rId5"/>
    <p:sldLayoutId id="2147484118" r:id="rId6"/>
    <p:sldLayoutId id="2147484119" r:id="rId7"/>
    <p:sldLayoutId id="2147484120" r:id="rId8"/>
    <p:sldLayoutId id="2147484121" r:id="rId9"/>
    <p:sldLayoutId id="2147484122" r:id="rId10"/>
    <p:sldLayoutId id="2147484123" r:id="rId11"/>
    <p:sldLayoutId id="2147484124" r:id="rId12"/>
    <p:sldLayoutId id="2147484125" r:id="rId13"/>
    <p:sldLayoutId id="2147484126" r:id="rId14"/>
    <p:sldLayoutId id="2147484127" r:id="rId15"/>
    <p:sldLayoutId id="2147484128" r:id="rId16"/>
    <p:sldLayoutId id="2147484129" r:id="rId17"/>
    <p:sldLayoutId id="2147484130" r:id="rId18"/>
    <p:sldLayoutId id="2147484131" r:id="rId19"/>
    <p:sldLayoutId id="2147484132" r:id="rId20"/>
    <p:sldLayoutId id="2147484133" r:id="rId21"/>
    <p:sldLayoutId id="2147484134" r:id="rId22"/>
    <p:sldLayoutId id="2147484135" r:id="rId23"/>
    <p:sldLayoutId id="2147484136" r:id="rId24"/>
    <p:sldLayoutId id="2147484137" r:id="rId25"/>
    <p:sldLayoutId id="2147484138" r:id="rId26"/>
    <p:sldLayoutId id="2147484139" r:id="rId27"/>
    <p:sldLayoutId id="2147484140" r:id="rId28"/>
    <p:sldLayoutId id="2147484141" r:id="rId29"/>
    <p:sldLayoutId id="2147484142" r:id="rId30"/>
    <p:sldLayoutId id="2147484143" r:id="rId31"/>
    <p:sldLayoutId id="2147484144" r:id="rId32"/>
    <p:sldLayoutId id="2147484145" r:id="rId33"/>
  </p:sldLayoutIdLst>
  <p:hf hdr="0"/>
  <p:txStyles>
    <p:titleStyle>
      <a:lvl1pPr algn="l" defTabSz="514076" rtl="0" eaLnBrk="1" latinLnBrk="0" hangingPunct="1">
        <a:lnSpc>
          <a:spcPct val="85000"/>
        </a:lnSpc>
        <a:spcBef>
          <a:spcPct val="0"/>
        </a:spcBef>
        <a:buNone/>
        <a:defRPr sz="1575" b="1" kern="1200">
          <a:solidFill>
            <a:schemeClr val="bg1"/>
          </a:solidFill>
          <a:latin typeface="EYInterstate" panose="02000503020000020004" pitchFamily="2" charset="0"/>
          <a:ea typeface="+mj-ea"/>
          <a:cs typeface="Arial" pitchFamily="34" charset="0"/>
        </a:defRPr>
      </a:lvl1pPr>
    </p:titleStyle>
    <p:bodyStyle>
      <a:lvl1pPr marL="200489" indent="-200489" algn="l" defTabSz="514076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400979" indent="-200489" algn="l" defTabSz="514076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5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601469" indent="-200489" algn="l" defTabSz="514076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801958" indent="-200489" algn="l" defTabSz="514076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05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002448" indent="-200489" algn="l" defTabSz="514076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9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1413708" indent="-128519" algn="l" defTabSz="514076" rtl="0" eaLnBrk="1" latinLnBrk="0" hangingPunct="1">
        <a:spcBef>
          <a:spcPct val="20000"/>
        </a:spcBef>
        <a:buFont typeface="Arial" pitchFamily="34" charset="0"/>
        <a:buChar char="•"/>
        <a:defRPr sz="1124" kern="1200">
          <a:solidFill>
            <a:schemeClr val="tx1"/>
          </a:solidFill>
          <a:latin typeface="+mn-lt"/>
          <a:ea typeface="+mn-ea"/>
          <a:cs typeface="+mn-cs"/>
        </a:defRPr>
      </a:lvl6pPr>
      <a:lvl7pPr marL="1670746" indent="-128519" algn="l" defTabSz="514076" rtl="0" eaLnBrk="1" latinLnBrk="0" hangingPunct="1">
        <a:spcBef>
          <a:spcPct val="20000"/>
        </a:spcBef>
        <a:buFont typeface="Arial" pitchFamily="34" charset="0"/>
        <a:buChar char="•"/>
        <a:defRPr sz="1124" kern="1200">
          <a:solidFill>
            <a:schemeClr val="tx1"/>
          </a:solidFill>
          <a:latin typeface="+mn-lt"/>
          <a:ea typeface="+mn-ea"/>
          <a:cs typeface="+mn-cs"/>
        </a:defRPr>
      </a:lvl7pPr>
      <a:lvl8pPr marL="1927784" indent="-128519" algn="l" defTabSz="514076" rtl="0" eaLnBrk="1" latinLnBrk="0" hangingPunct="1">
        <a:spcBef>
          <a:spcPct val="20000"/>
        </a:spcBef>
        <a:buFont typeface="Arial" pitchFamily="34" charset="0"/>
        <a:buChar char="•"/>
        <a:defRPr sz="1124" kern="1200">
          <a:solidFill>
            <a:schemeClr val="tx1"/>
          </a:solidFill>
          <a:latin typeface="+mn-lt"/>
          <a:ea typeface="+mn-ea"/>
          <a:cs typeface="+mn-cs"/>
        </a:defRPr>
      </a:lvl8pPr>
      <a:lvl9pPr marL="2184822" indent="-128519" algn="l" defTabSz="514076" rtl="0" eaLnBrk="1" latinLnBrk="0" hangingPunct="1">
        <a:spcBef>
          <a:spcPct val="20000"/>
        </a:spcBef>
        <a:buFont typeface="Arial" pitchFamily="34" charset="0"/>
        <a:buChar char="•"/>
        <a:defRPr sz="112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076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1pPr>
      <a:lvl2pPr marL="257038" algn="l" defTabSz="514076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2pPr>
      <a:lvl3pPr marL="514076" algn="l" defTabSz="514076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3pPr>
      <a:lvl4pPr marL="771113" algn="l" defTabSz="514076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4pPr>
      <a:lvl5pPr marL="1028151" algn="l" defTabSz="514076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5pPr>
      <a:lvl6pPr marL="1285190" algn="l" defTabSz="514076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6pPr>
      <a:lvl7pPr marL="1542227" algn="l" defTabSz="514076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7pPr>
      <a:lvl8pPr marL="1799265" algn="l" defTabSz="514076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8pPr>
      <a:lvl9pPr marL="2056303" algn="l" defTabSz="514076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7" Type="http://schemas.openxmlformats.org/officeDocument/2006/relationships/image" Target="../media/image1.emf"/><Relationship Id="rId2" Type="http://schemas.openxmlformats.org/officeDocument/2006/relationships/tags" Target="../tags/tag45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3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slideLayout" Target="../slideLayouts/slideLayout40.xml"/><Relationship Id="rId7" Type="http://schemas.openxmlformats.org/officeDocument/2006/relationships/diagramData" Target="../diagrams/data2.xml"/><Relationship Id="rId2" Type="http://schemas.openxmlformats.org/officeDocument/2006/relationships/tags" Target="../tags/tag59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11" Type="http://schemas.microsoft.com/office/2007/relationships/diagramDrawing" Target="../diagrams/drawing2.xml"/><Relationship Id="rId5" Type="http://schemas.openxmlformats.org/officeDocument/2006/relationships/oleObject" Target="../embeddings/oleObject31.bin"/><Relationship Id="rId10" Type="http://schemas.openxmlformats.org/officeDocument/2006/relationships/diagramColors" Target="../diagrams/colors2.xml"/><Relationship Id="rId4" Type="http://schemas.openxmlformats.org/officeDocument/2006/relationships/notesSlide" Target="../notesSlides/notesSlide5.xml"/><Relationship Id="rId9" Type="http://schemas.openxmlformats.org/officeDocument/2006/relationships/diagramQuickStyle" Target="../diagrams/quickStyle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34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34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Layout" Target="../slideLayouts/slideLayout4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image" Target="../media/image13.png"/><Relationship Id="rId2" Type="http://schemas.openxmlformats.org/officeDocument/2006/relationships/tags" Target="../tags/tag51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Layout" Target="../slideLayouts/slideLayout4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Layout" Target="../slideLayouts/slideLayout4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image" Target="../media/image14.emf"/><Relationship Id="rId2" Type="http://schemas.openxmlformats.org/officeDocument/2006/relationships/tags" Target="../tags/tag55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8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4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slideLayout" Target="../slideLayouts/slideLayout40.xml"/><Relationship Id="rId7" Type="http://schemas.openxmlformats.org/officeDocument/2006/relationships/image" Target="../media/image15.png"/><Relationship Id="rId2" Type="http://schemas.openxmlformats.org/officeDocument/2006/relationships/tags" Target="../tags/tag57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slideLayout" Target="../slideLayouts/slideLayout40.xml"/><Relationship Id="rId7" Type="http://schemas.openxmlformats.org/officeDocument/2006/relationships/diagramData" Target="../diagrams/data1.xml"/><Relationship Id="rId2" Type="http://schemas.openxmlformats.org/officeDocument/2006/relationships/tags" Target="../tags/tag58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30.bin"/><Relationship Id="rId10" Type="http://schemas.openxmlformats.org/officeDocument/2006/relationships/diagramColors" Target="../diagrams/colors1.xml"/><Relationship Id="rId4" Type="http://schemas.openxmlformats.org/officeDocument/2006/relationships/notesSlide" Target="../notesSlides/notesSlide4.xml"/><Relationship Id="rId9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E881061-F104-456B-9A5B-69526AF2DA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0400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3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E881061-F104-456B-9A5B-69526AF2DA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953B810-E78B-422F-94DA-4B3F4063A62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/>
            <a:endParaRPr lang="ru-RU" sz="2800" dirty="0">
              <a:solidFill>
                <a:schemeClr val="tx1"/>
              </a:solidFill>
              <a:latin typeface="EYInterstate" panose="02000503020000020004" pitchFamily="2" charset="0"/>
              <a:ea typeface="+mj-ea"/>
              <a:cs typeface="Arial" panose="020B0604020202020204" pitchFamily="34" charset="0"/>
              <a:sym typeface="EYInterstate" panose="02000503020000020004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B17B794-FCDD-4B19-9635-3DBC0D70D3A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6046" y="1722491"/>
            <a:ext cx="3990452" cy="1151053"/>
          </a:xfrm>
        </p:spPr>
        <p:txBody>
          <a:bodyPr vert="horz"/>
          <a:lstStyle/>
          <a:p>
            <a:r>
              <a:rPr lang="ru-RU" sz="2800" dirty="0">
                <a:solidFill>
                  <a:srgbClr val="2E2E38"/>
                </a:solidFill>
                <a:latin typeface="Arial" panose="020B0604020202020204" pitchFamily="34" charset="0"/>
              </a:rPr>
              <a:t>Налогообложение золотодобывающей отрасли</a:t>
            </a:r>
            <a:r>
              <a:rPr lang="en-US" sz="2800" dirty="0">
                <a:solidFill>
                  <a:srgbClr val="2E2E38"/>
                </a:solidFill>
                <a:latin typeface="Arial" panose="020B0604020202020204" pitchFamily="34" charset="0"/>
              </a:rPr>
              <a:t>: </a:t>
            </a:r>
            <a:r>
              <a:rPr lang="ru-RU" sz="2800" dirty="0">
                <a:solidFill>
                  <a:srgbClr val="2E2E38"/>
                </a:solidFill>
                <a:latin typeface="Arial" panose="020B0604020202020204" pitchFamily="34" charset="0"/>
              </a:rPr>
              <a:t>проблемы и решения</a:t>
            </a:r>
            <a:endParaRPr lang="en-IN" sz="2800" dirty="0">
              <a:latin typeface="Arial" panose="020B0604020202020204" pitchFamily="34" charset="0"/>
            </a:endParaRPr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8D498892-6B12-4A37-9DF0-5D3F6D0716D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581549" y="3591088"/>
            <a:ext cx="4064949" cy="391225"/>
          </a:xfrm>
        </p:spPr>
        <p:txBody>
          <a:bodyPr/>
          <a:lstStyle/>
          <a:p>
            <a:pPr marL="0" indent="0">
              <a:buNone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20 октября, 2021</a:t>
            </a:r>
          </a:p>
        </p:txBody>
      </p:sp>
    </p:spTree>
    <p:extLst>
      <p:ext uri="{BB962C8B-B14F-4D97-AF65-F5344CB8AC3E}">
        <p14:creationId xmlns:p14="http://schemas.microsoft.com/office/powerpoint/2010/main" val="13997349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E4A4CCA-1CC1-4B86-88AA-876359B2F3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92604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5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E4A4CCA-1CC1-4B86-88AA-876359B2F3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44CEDB7-7466-4AD1-AD70-600A35A167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265818"/>
            <a:ext cx="8229600" cy="590400"/>
          </a:xfrm>
        </p:spPr>
        <p:txBody>
          <a:bodyPr vert="horz"/>
          <a:lstStyle/>
          <a:p>
            <a:r>
              <a:rPr lang="ru-RU" sz="2000" dirty="0">
                <a:latin typeface="Arial" panose="020B0604020202020204" pitchFamily="34" charset="0"/>
              </a:rPr>
              <a:t>Налоговые меры стимулирования отрасли</a:t>
            </a:r>
            <a:br>
              <a:rPr lang="ru-RU" sz="2000" dirty="0">
                <a:latin typeface="Arial" panose="020B0604020202020204" pitchFamily="34" charset="0"/>
              </a:rPr>
            </a:br>
            <a:r>
              <a:rPr lang="ru-RU" sz="2000" b="0" dirty="0">
                <a:latin typeface="Arial" panose="020B0604020202020204" pitchFamily="34" charset="0"/>
              </a:rPr>
              <a:t>Период добычи/ переработки</a:t>
            </a:r>
            <a:endParaRPr lang="ru-RU" sz="2000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FFE1E4-506C-441C-A502-9B3C500EE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Стр.</a:t>
            </a:r>
            <a:r>
              <a:rPr kumimoji="0" lang="en-IN" sz="8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 </a:t>
            </a:r>
            <a:fld id="{F1BC30E3-FFE5-4B91-AA19-87A149EBB9EE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sp>
        <p:nvSpPr>
          <p:cNvPr id="7" name="Freeform 43">
            <a:extLst>
              <a:ext uri="{FF2B5EF4-FFF2-40B4-BE49-F238E27FC236}">
                <a16:creationId xmlns:a16="http://schemas.microsoft.com/office/drawing/2014/main" id="{B3C932F1-528B-419D-9CF6-88DF268764A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36609" y="1233270"/>
            <a:ext cx="452968" cy="531731"/>
          </a:xfrm>
          <a:custGeom>
            <a:avLst/>
            <a:gdLst>
              <a:gd name="T0" fmla="*/ 2147483647 w 4306"/>
              <a:gd name="T1" fmla="*/ 2147483647 h 4763"/>
              <a:gd name="T2" fmla="*/ 2147483647 w 4306"/>
              <a:gd name="T3" fmla="*/ 2147483647 h 4763"/>
              <a:gd name="T4" fmla="*/ 2147483647 w 4306"/>
              <a:gd name="T5" fmla="*/ 2147483647 h 4763"/>
              <a:gd name="T6" fmla="*/ 2147483647 w 4306"/>
              <a:gd name="T7" fmla="*/ 2147483647 h 4763"/>
              <a:gd name="T8" fmla="*/ 2147483647 w 4306"/>
              <a:gd name="T9" fmla="*/ 2147483647 h 4763"/>
              <a:gd name="T10" fmla="*/ 2147483647 w 4306"/>
              <a:gd name="T11" fmla="*/ 2147483647 h 4763"/>
              <a:gd name="T12" fmla="*/ 2147483647 w 4306"/>
              <a:gd name="T13" fmla="*/ 2147483647 h 4763"/>
              <a:gd name="T14" fmla="*/ 2147483647 w 4306"/>
              <a:gd name="T15" fmla="*/ 2147483647 h 4763"/>
              <a:gd name="T16" fmla="*/ 2147483647 w 4306"/>
              <a:gd name="T17" fmla="*/ 2147483647 h 4763"/>
              <a:gd name="T18" fmla="*/ 2147483647 w 4306"/>
              <a:gd name="T19" fmla="*/ 2147483647 h 4763"/>
              <a:gd name="T20" fmla="*/ 2147483647 w 4306"/>
              <a:gd name="T21" fmla="*/ 2147483647 h 4763"/>
              <a:gd name="T22" fmla="*/ 2147483647 w 4306"/>
              <a:gd name="T23" fmla="*/ 2147483647 h 4763"/>
              <a:gd name="T24" fmla="*/ 2147483647 w 4306"/>
              <a:gd name="T25" fmla="*/ 2147483647 h 4763"/>
              <a:gd name="T26" fmla="*/ 2147483647 w 4306"/>
              <a:gd name="T27" fmla="*/ 2147483647 h 4763"/>
              <a:gd name="T28" fmla="*/ 2147483647 w 4306"/>
              <a:gd name="T29" fmla="*/ 2147483647 h 4763"/>
              <a:gd name="T30" fmla="*/ 2147483647 w 4306"/>
              <a:gd name="T31" fmla="*/ 2147483647 h 4763"/>
              <a:gd name="T32" fmla="*/ 2147483647 w 4306"/>
              <a:gd name="T33" fmla="*/ 2147483647 h 4763"/>
              <a:gd name="T34" fmla="*/ 2147483647 w 4306"/>
              <a:gd name="T35" fmla="*/ 2147483647 h 4763"/>
              <a:gd name="T36" fmla="*/ 2147483647 w 4306"/>
              <a:gd name="T37" fmla="*/ 2147483647 h 4763"/>
              <a:gd name="T38" fmla="*/ 2147483647 w 4306"/>
              <a:gd name="T39" fmla="*/ 2147483647 h 4763"/>
              <a:gd name="T40" fmla="*/ 2147483647 w 4306"/>
              <a:gd name="T41" fmla="*/ 2147483647 h 4763"/>
              <a:gd name="T42" fmla="*/ 2147483647 w 4306"/>
              <a:gd name="T43" fmla="*/ 2147483647 h 4763"/>
              <a:gd name="T44" fmla="*/ 2147483647 w 4306"/>
              <a:gd name="T45" fmla="*/ 2147483647 h 4763"/>
              <a:gd name="T46" fmla="*/ 2147483647 w 4306"/>
              <a:gd name="T47" fmla="*/ 2147483647 h 4763"/>
              <a:gd name="T48" fmla="*/ 2147483647 w 4306"/>
              <a:gd name="T49" fmla="*/ 2147483647 h 4763"/>
              <a:gd name="T50" fmla="*/ 2147483647 w 4306"/>
              <a:gd name="T51" fmla="*/ 2147483647 h 4763"/>
              <a:gd name="T52" fmla="*/ 2147483647 w 4306"/>
              <a:gd name="T53" fmla="*/ 2147483647 h 4763"/>
              <a:gd name="T54" fmla="*/ 2147483647 w 4306"/>
              <a:gd name="T55" fmla="*/ 2147483647 h 4763"/>
              <a:gd name="T56" fmla="*/ 2147483647 w 4306"/>
              <a:gd name="T57" fmla="*/ 2147483647 h 4763"/>
              <a:gd name="T58" fmla="*/ 2147483647 w 4306"/>
              <a:gd name="T59" fmla="*/ 2147483647 h 4763"/>
              <a:gd name="T60" fmla="*/ 2147483647 w 4306"/>
              <a:gd name="T61" fmla="*/ 2147483647 h 4763"/>
              <a:gd name="T62" fmla="*/ 2147483647 w 4306"/>
              <a:gd name="T63" fmla="*/ 2147483647 h 4763"/>
              <a:gd name="T64" fmla="*/ 2147483647 w 4306"/>
              <a:gd name="T65" fmla="*/ 2147483647 h 4763"/>
              <a:gd name="T66" fmla="*/ 2147483647 w 4306"/>
              <a:gd name="T67" fmla="*/ 2147483647 h 4763"/>
              <a:gd name="T68" fmla="*/ 2147483647 w 4306"/>
              <a:gd name="T69" fmla="*/ 2147483647 h 4763"/>
              <a:gd name="T70" fmla="*/ 2147483647 w 4306"/>
              <a:gd name="T71" fmla="*/ 2147483647 h 4763"/>
              <a:gd name="T72" fmla="*/ 2147483647 w 4306"/>
              <a:gd name="T73" fmla="*/ 2147483647 h 4763"/>
              <a:gd name="T74" fmla="*/ 2147483647 w 4306"/>
              <a:gd name="T75" fmla="*/ 2147483647 h 4763"/>
              <a:gd name="T76" fmla="*/ 2147483647 w 4306"/>
              <a:gd name="T77" fmla="*/ 2147483647 h 4763"/>
              <a:gd name="T78" fmla="*/ 2147483647 w 4306"/>
              <a:gd name="T79" fmla="*/ 2147483647 h 4763"/>
              <a:gd name="T80" fmla="*/ 2147483647 w 4306"/>
              <a:gd name="T81" fmla="*/ 2147483647 h 4763"/>
              <a:gd name="T82" fmla="*/ 2147483647 w 4306"/>
              <a:gd name="T83" fmla="*/ 2147483647 h 4763"/>
              <a:gd name="T84" fmla="*/ 2147483647 w 4306"/>
              <a:gd name="T85" fmla="*/ 2147483647 h 4763"/>
              <a:gd name="T86" fmla="*/ 2147483647 w 4306"/>
              <a:gd name="T87" fmla="*/ 2147483647 h 4763"/>
              <a:gd name="T88" fmla="*/ 2147483647 w 4306"/>
              <a:gd name="T89" fmla="*/ 2147483647 h 4763"/>
              <a:gd name="T90" fmla="*/ 2147483647 w 4306"/>
              <a:gd name="T91" fmla="*/ 2147483647 h 4763"/>
              <a:gd name="T92" fmla="*/ 2147483647 w 4306"/>
              <a:gd name="T93" fmla="*/ 2147483647 h 4763"/>
              <a:gd name="T94" fmla="*/ 2147483647 w 4306"/>
              <a:gd name="T95" fmla="*/ 0 h 4763"/>
              <a:gd name="T96" fmla="*/ 2147483647 w 4306"/>
              <a:gd name="T97" fmla="*/ 2147483647 h 4763"/>
              <a:gd name="T98" fmla="*/ 2147483647 w 4306"/>
              <a:gd name="T99" fmla="*/ 2147483647 h 4763"/>
              <a:gd name="T100" fmla="*/ 2147483647 w 4306"/>
              <a:gd name="T101" fmla="*/ 2147483647 h 4763"/>
              <a:gd name="T102" fmla="*/ 2147483647 w 4306"/>
              <a:gd name="T103" fmla="*/ 2147483647 h 4763"/>
              <a:gd name="T104" fmla="*/ 2147483647 w 4306"/>
              <a:gd name="T105" fmla="*/ 2147483647 h 4763"/>
              <a:gd name="T106" fmla="*/ 2147483647 w 4306"/>
              <a:gd name="T107" fmla="*/ 2147483647 h 4763"/>
              <a:gd name="T108" fmla="*/ 2147483647 w 4306"/>
              <a:gd name="T109" fmla="*/ 2147483647 h 4763"/>
              <a:gd name="T110" fmla="*/ 2147483647 w 4306"/>
              <a:gd name="T111" fmla="*/ 2147483647 h 4763"/>
              <a:gd name="T112" fmla="*/ 2147483647 w 4306"/>
              <a:gd name="T113" fmla="*/ 2147483647 h 4763"/>
              <a:gd name="T114" fmla="*/ 2147483647 w 4306"/>
              <a:gd name="T115" fmla="*/ 2147483647 h 4763"/>
              <a:gd name="T116" fmla="*/ 2147483647 w 4306"/>
              <a:gd name="T117" fmla="*/ 2147483647 h 4763"/>
              <a:gd name="T118" fmla="*/ 2147483647 w 4306"/>
              <a:gd name="T119" fmla="*/ 2147483647 h 4763"/>
              <a:gd name="T120" fmla="*/ 2147483647 w 4306"/>
              <a:gd name="T121" fmla="*/ 2147483647 h 4763"/>
              <a:gd name="T122" fmla="*/ 2147483647 w 4306"/>
              <a:gd name="T123" fmla="*/ 2147483647 h 4763"/>
              <a:gd name="T124" fmla="*/ 2147483647 w 4306"/>
              <a:gd name="T125" fmla="*/ 2147483647 h 4763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4306"/>
              <a:gd name="T190" fmla="*/ 0 h 4763"/>
              <a:gd name="T191" fmla="*/ 4306 w 4306"/>
              <a:gd name="T192" fmla="*/ 4763 h 4763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4306" h="4763">
                <a:moveTo>
                  <a:pt x="2440" y="3905"/>
                </a:moveTo>
                <a:lnTo>
                  <a:pt x="2440" y="3905"/>
                </a:lnTo>
                <a:lnTo>
                  <a:pt x="2440" y="3895"/>
                </a:lnTo>
                <a:lnTo>
                  <a:pt x="2442" y="3885"/>
                </a:lnTo>
                <a:lnTo>
                  <a:pt x="2445" y="3877"/>
                </a:lnTo>
                <a:lnTo>
                  <a:pt x="2447" y="3868"/>
                </a:lnTo>
                <a:lnTo>
                  <a:pt x="2452" y="3860"/>
                </a:lnTo>
                <a:lnTo>
                  <a:pt x="2456" y="3852"/>
                </a:lnTo>
                <a:lnTo>
                  <a:pt x="2461" y="3845"/>
                </a:lnTo>
                <a:lnTo>
                  <a:pt x="2467" y="3838"/>
                </a:lnTo>
                <a:lnTo>
                  <a:pt x="2474" y="3832"/>
                </a:lnTo>
                <a:lnTo>
                  <a:pt x="2481" y="3827"/>
                </a:lnTo>
                <a:lnTo>
                  <a:pt x="2489" y="3822"/>
                </a:lnTo>
                <a:lnTo>
                  <a:pt x="2498" y="3818"/>
                </a:lnTo>
                <a:lnTo>
                  <a:pt x="2506" y="3815"/>
                </a:lnTo>
                <a:lnTo>
                  <a:pt x="2514" y="3813"/>
                </a:lnTo>
                <a:lnTo>
                  <a:pt x="2524" y="3811"/>
                </a:lnTo>
                <a:lnTo>
                  <a:pt x="2534" y="3811"/>
                </a:lnTo>
                <a:lnTo>
                  <a:pt x="2544" y="3811"/>
                </a:lnTo>
                <a:lnTo>
                  <a:pt x="2552" y="3813"/>
                </a:lnTo>
                <a:lnTo>
                  <a:pt x="2562" y="3815"/>
                </a:lnTo>
                <a:lnTo>
                  <a:pt x="2570" y="3818"/>
                </a:lnTo>
                <a:lnTo>
                  <a:pt x="2579" y="3822"/>
                </a:lnTo>
                <a:lnTo>
                  <a:pt x="2586" y="3827"/>
                </a:lnTo>
                <a:lnTo>
                  <a:pt x="2594" y="3832"/>
                </a:lnTo>
                <a:lnTo>
                  <a:pt x="2600" y="3838"/>
                </a:lnTo>
                <a:lnTo>
                  <a:pt x="2606" y="3845"/>
                </a:lnTo>
                <a:lnTo>
                  <a:pt x="2612" y="3852"/>
                </a:lnTo>
                <a:lnTo>
                  <a:pt x="2616" y="3860"/>
                </a:lnTo>
                <a:lnTo>
                  <a:pt x="2620" y="3868"/>
                </a:lnTo>
                <a:lnTo>
                  <a:pt x="2623" y="3877"/>
                </a:lnTo>
                <a:lnTo>
                  <a:pt x="2626" y="3885"/>
                </a:lnTo>
                <a:lnTo>
                  <a:pt x="2627" y="3895"/>
                </a:lnTo>
                <a:lnTo>
                  <a:pt x="2627" y="3905"/>
                </a:lnTo>
                <a:lnTo>
                  <a:pt x="2627" y="3915"/>
                </a:lnTo>
                <a:lnTo>
                  <a:pt x="2626" y="3923"/>
                </a:lnTo>
                <a:lnTo>
                  <a:pt x="2623" y="3933"/>
                </a:lnTo>
                <a:lnTo>
                  <a:pt x="2620" y="3941"/>
                </a:lnTo>
                <a:lnTo>
                  <a:pt x="2616" y="3949"/>
                </a:lnTo>
                <a:lnTo>
                  <a:pt x="2612" y="3956"/>
                </a:lnTo>
                <a:lnTo>
                  <a:pt x="2606" y="3965"/>
                </a:lnTo>
                <a:lnTo>
                  <a:pt x="2600" y="3970"/>
                </a:lnTo>
                <a:lnTo>
                  <a:pt x="2594" y="3977"/>
                </a:lnTo>
                <a:lnTo>
                  <a:pt x="2586" y="3983"/>
                </a:lnTo>
                <a:lnTo>
                  <a:pt x="2579" y="3987"/>
                </a:lnTo>
                <a:lnTo>
                  <a:pt x="2570" y="3991"/>
                </a:lnTo>
                <a:lnTo>
                  <a:pt x="2562" y="3994"/>
                </a:lnTo>
                <a:lnTo>
                  <a:pt x="2552" y="3997"/>
                </a:lnTo>
                <a:lnTo>
                  <a:pt x="2544" y="3998"/>
                </a:lnTo>
                <a:lnTo>
                  <a:pt x="2534" y="3998"/>
                </a:lnTo>
                <a:lnTo>
                  <a:pt x="2524" y="3998"/>
                </a:lnTo>
                <a:lnTo>
                  <a:pt x="2514" y="3997"/>
                </a:lnTo>
                <a:lnTo>
                  <a:pt x="2506" y="3994"/>
                </a:lnTo>
                <a:lnTo>
                  <a:pt x="2498" y="3991"/>
                </a:lnTo>
                <a:lnTo>
                  <a:pt x="2489" y="3987"/>
                </a:lnTo>
                <a:lnTo>
                  <a:pt x="2481" y="3983"/>
                </a:lnTo>
                <a:lnTo>
                  <a:pt x="2474" y="3977"/>
                </a:lnTo>
                <a:lnTo>
                  <a:pt x="2467" y="3970"/>
                </a:lnTo>
                <a:lnTo>
                  <a:pt x="2461" y="3965"/>
                </a:lnTo>
                <a:lnTo>
                  <a:pt x="2456" y="3956"/>
                </a:lnTo>
                <a:lnTo>
                  <a:pt x="2452" y="3949"/>
                </a:lnTo>
                <a:lnTo>
                  <a:pt x="2447" y="3941"/>
                </a:lnTo>
                <a:lnTo>
                  <a:pt x="2445" y="3933"/>
                </a:lnTo>
                <a:lnTo>
                  <a:pt x="2442" y="3923"/>
                </a:lnTo>
                <a:lnTo>
                  <a:pt x="2440" y="3915"/>
                </a:lnTo>
                <a:lnTo>
                  <a:pt x="2440" y="3905"/>
                </a:lnTo>
                <a:close/>
                <a:moveTo>
                  <a:pt x="2136" y="3905"/>
                </a:moveTo>
                <a:lnTo>
                  <a:pt x="2136" y="3905"/>
                </a:lnTo>
                <a:lnTo>
                  <a:pt x="2136" y="3895"/>
                </a:lnTo>
                <a:lnTo>
                  <a:pt x="2138" y="3885"/>
                </a:lnTo>
                <a:lnTo>
                  <a:pt x="2140" y="3877"/>
                </a:lnTo>
                <a:lnTo>
                  <a:pt x="2143" y="3868"/>
                </a:lnTo>
                <a:lnTo>
                  <a:pt x="2147" y="3860"/>
                </a:lnTo>
                <a:lnTo>
                  <a:pt x="2153" y="3852"/>
                </a:lnTo>
                <a:lnTo>
                  <a:pt x="2157" y="3845"/>
                </a:lnTo>
                <a:lnTo>
                  <a:pt x="2164" y="3838"/>
                </a:lnTo>
                <a:lnTo>
                  <a:pt x="2170" y="3832"/>
                </a:lnTo>
                <a:lnTo>
                  <a:pt x="2178" y="3827"/>
                </a:lnTo>
                <a:lnTo>
                  <a:pt x="2185" y="3822"/>
                </a:lnTo>
                <a:lnTo>
                  <a:pt x="2193" y="3818"/>
                </a:lnTo>
                <a:lnTo>
                  <a:pt x="2202" y="3815"/>
                </a:lnTo>
                <a:lnTo>
                  <a:pt x="2212" y="3813"/>
                </a:lnTo>
                <a:lnTo>
                  <a:pt x="2220" y="3811"/>
                </a:lnTo>
                <a:lnTo>
                  <a:pt x="2230" y="3811"/>
                </a:lnTo>
                <a:lnTo>
                  <a:pt x="2240" y="3811"/>
                </a:lnTo>
                <a:lnTo>
                  <a:pt x="2249" y="3813"/>
                </a:lnTo>
                <a:lnTo>
                  <a:pt x="2258" y="3815"/>
                </a:lnTo>
                <a:lnTo>
                  <a:pt x="2266" y="3818"/>
                </a:lnTo>
                <a:lnTo>
                  <a:pt x="2274" y="3822"/>
                </a:lnTo>
                <a:lnTo>
                  <a:pt x="2283" y="3827"/>
                </a:lnTo>
                <a:lnTo>
                  <a:pt x="2290" y="3832"/>
                </a:lnTo>
                <a:lnTo>
                  <a:pt x="2297" y="3838"/>
                </a:lnTo>
                <a:lnTo>
                  <a:pt x="2302" y="3845"/>
                </a:lnTo>
                <a:lnTo>
                  <a:pt x="2308" y="3852"/>
                </a:lnTo>
                <a:lnTo>
                  <a:pt x="2312" y="3860"/>
                </a:lnTo>
                <a:lnTo>
                  <a:pt x="2316" y="3868"/>
                </a:lnTo>
                <a:lnTo>
                  <a:pt x="2319" y="3877"/>
                </a:lnTo>
                <a:lnTo>
                  <a:pt x="2322" y="3885"/>
                </a:lnTo>
                <a:lnTo>
                  <a:pt x="2323" y="3895"/>
                </a:lnTo>
                <a:lnTo>
                  <a:pt x="2323" y="3905"/>
                </a:lnTo>
                <a:lnTo>
                  <a:pt x="2323" y="3915"/>
                </a:lnTo>
                <a:lnTo>
                  <a:pt x="2322" y="3923"/>
                </a:lnTo>
                <a:lnTo>
                  <a:pt x="2319" y="3933"/>
                </a:lnTo>
                <a:lnTo>
                  <a:pt x="2316" y="3941"/>
                </a:lnTo>
                <a:lnTo>
                  <a:pt x="2312" y="3949"/>
                </a:lnTo>
                <a:lnTo>
                  <a:pt x="2308" y="3956"/>
                </a:lnTo>
                <a:lnTo>
                  <a:pt x="2302" y="3965"/>
                </a:lnTo>
                <a:lnTo>
                  <a:pt x="2297" y="3970"/>
                </a:lnTo>
                <a:lnTo>
                  <a:pt x="2290" y="3977"/>
                </a:lnTo>
                <a:lnTo>
                  <a:pt x="2283" y="3983"/>
                </a:lnTo>
                <a:lnTo>
                  <a:pt x="2274" y="3987"/>
                </a:lnTo>
                <a:lnTo>
                  <a:pt x="2266" y="3991"/>
                </a:lnTo>
                <a:lnTo>
                  <a:pt x="2258" y="3994"/>
                </a:lnTo>
                <a:lnTo>
                  <a:pt x="2249" y="3997"/>
                </a:lnTo>
                <a:lnTo>
                  <a:pt x="2240" y="3998"/>
                </a:lnTo>
                <a:lnTo>
                  <a:pt x="2230" y="3998"/>
                </a:lnTo>
                <a:lnTo>
                  <a:pt x="2220" y="3998"/>
                </a:lnTo>
                <a:lnTo>
                  <a:pt x="2212" y="3997"/>
                </a:lnTo>
                <a:lnTo>
                  <a:pt x="2202" y="3994"/>
                </a:lnTo>
                <a:lnTo>
                  <a:pt x="2193" y="3991"/>
                </a:lnTo>
                <a:lnTo>
                  <a:pt x="2185" y="3987"/>
                </a:lnTo>
                <a:lnTo>
                  <a:pt x="2178" y="3983"/>
                </a:lnTo>
                <a:lnTo>
                  <a:pt x="2170" y="3977"/>
                </a:lnTo>
                <a:lnTo>
                  <a:pt x="2164" y="3970"/>
                </a:lnTo>
                <a:lnTo>
                  <a:pt x="2157" y="3965"/>
                </a:lnTo>
                <a:lnTo>
                  <a:pt x="2153" y="3956"/>
                </a:lnTo>
                <a:lnTo>
                  <a:pt x="2147" y="3949"/>
                </a:lnTo>
                <a:lnTo>
                  <a:pt x="2143" y="3941"/>
                </a:lnTo>
                <a:lnTo>
                  <a:pt x="2140" y="3933"/>
                </a:lnTo>
                <a:lnTo>
                  <a:pt x="2138" y="3923"/>
                </a:lnTo>
                <a:lnTo>
                  <a:pt x="2136" y="3915"/>
                </a:lnTo>
                <a:lnTo>
                  <a:pt x="2136" y="3905"/>
                </a:lnTo>
                <a:close/>
                <a:moveTo>
                  <a:pt x="1832" y="3905"/>
                </a:moveTo>
                <a:lnTo>
                  <a:pt x="1832" y="3905"/>
                </a:lnTo>
                <a:lnTo>
                  <a:pt x="1833" y="3895"/>
                </a:lnTo>
                <a:lnTo>
                  <a:pt x="1835" y="3885"/>
                </a:lnTo>
                <a:lnTo>
                  <a:pt x="1836" y="3877"/>
                </a:lnTo>
                <a:lnTo>
                  <a:pt x="1840" y="3868"/>
                </a:lnTo>
                <a:lnTo>
                  <a:pt x="1843" y="3860"/>
                </a:lnTo>
                <a:lnTo>
                  <a:pt x="1849" y="3852"/>
                </a:lnTo>
                <a:lnTo>
                  <a:pt x="1854" y="3845"/>
                </a:lnTo>
                <a:lnTo>
                  <a:pt x="1860" y="3838"/>
                </a:lnTo>
                <a:lnTo>
                  <a:pt x="1867" y="3832"/>
                </a:lnTo>
                <a:lnTo>
                  <a:pt x="1874" y="3827"/>
                </a:lnTo>
                <a:lnTo>
                  <a:pt x="1881" y="3822"/>
                </a:lnTo>
                <a:lnTo>
                  <a:pt x="1889" y="3818"/>
                </a:lnTo>
                <a:lnTo>
                  <a:pt x="1898" y="3815"/>
                </a:lnTo>
                <a:lnTo>
                  <a:pt x="1907" y="3813"/>
                </a:lnTo>
                <a:lnTo>
                  <a:pt x="1917" y="3811"/>
                </a:lnTo>
                <a:lnTo>
                  <a:pt x="1926" y="3811"/>
                </a:lnTo>
                <a:lnTo>
                  <a:pt x="1935" y="3811"/>
                </a:lnTo>
                <a:lnTo>
                  <a:pt x="1945" y="3813"/>
                </a:lnTo>
                <a:lnTo>
                  <a:pt x="1953" y="3815"/>
                </a:lnTo>
                <a:lnTo>
                  <a:pt x="1963" y="3818"/>
                </a:lnTo>
                <a:lnTo>
                  <a:pt x="1970" y="3822"/>
                </a:lnTo>
                <a:lnTo>
                  <a:pt x="1979" y="3827"/>
                </a:lnTo>
                <a:lnTo>
                  <a:pt x="1986" y="3832"/>
                </a:lnTo>
                <a:lnTo>
                  <a:pt x="1993" y="3838"/>
                </a:lnTo>
                <a:lnTo>
                  <a:pt x="1998" y="3845"/>
                </a:lnTo>
                <a:lnTo>
                  <a:pt x="2004" y="3852"/>
                </a:lnTo>
                <a:lnTo>
                  <a:pt x="2008" y="3860"/>
                </a:lnTo>
                <a:lnTo>
                  <a:pt x="2012" y="3868"/>
                </a:lnTo>
                <a:lnTo>
                  <a:pt x="2016" y="3877"/>
                </a:lnTo>
                <a:lnTo>
                  <a:pt x="2018" y="3885"/>
                </a:lnTo>
                <a:lnTo>
                  <a:pt x="2019" y="3895"/>
                </a:lnTo>
                <a:lnTo>
                  <a:pt x="2020" y="3905"/>
                </a:lnTo>
                <a:lnTo>
                  <a:pt x="2019" y="3915"/>
                </a:lnTo>
                <a:lnTo>
                  <a:pt x="2018" y="3923"/>
                </a:lnTo>
                <a:lnTo>
                  <a:pt x="2016" y="3933"/>
                </a:lnTo>
                <a:lnTo>
                  <a:pt x="2012" y="3941"/>
                </a:lnTo>
                <a:lnTo>
                  <a:pt x="2008" y="3949"/>
                </a:lnTo>
                <a:lnTo>
                  <a:pt x="2004" y="3956"/>
                </a:lnTo>
                <a:lnTo>
                  <a:pt x="1998" y="3965"/>
                </a:lnTo>
                <a:lnTo>
                  <a:pt x="1993" y="3970"/>
                </a:lnTo>
                <a:lnTo>
                  <a:pt x="1986" y="3977"/>
                </a:lnTo>
                <a:lnTo>
                  <a:pt x="1979" y="3983"/>
                </a:lnTo>
                <a:lnTo>
                  <a:pt x="1970" y="3987"/>
                </a:lnTo>
                <a:lnTo>
                  <a:pt x="1963" y="3991"/>
                </a:lnTo>
                <a:lnTo>
                  <a:pt x="1953" y="3994"/>
                </a:lnTo>
                <a:lnTo>
                  <a:pt x="1945" y="3997"/>
                </a:lnTo>
                <a:lnTo>
                  <a:pt x="1935" y="3998"/>
                </a:lnTo>
                <a:lnTo>
                  <a:pt x="1926" y="3998"/>
                </a:lnTo>
                <a:lnTo>
                  <a:pt x="1917" y="3998"/>
                </a:lnTo>
                <a:lnTo>
                  <a:pt x="1907" y="3997"/>
                </a:lnTo>
                <a:lnTo>
                  <a:pt x="1898" y="3994"/>
                </a:lnTo>
                <a:lnTo>
                  <a:pt x="1889" y="3991"/>
                </a:lnTo>
                <a:lnTo>
                  <a:pt x="1881" y="3987"/>
                </a:lnTo>
                <a:lnTo>
                  <a:pt x="1874" y="3983"/>
                </a:lnTo>
                <a:lnTo>
                  <a:pt x="1867" y="3977"/>
                </a:lnTo>
                <a:lnTo>
                  <a:pt x="1860" y="3970"/>
                </a:lnTo>
                <a:lnTo>
                  <a:pt x="1854" y="3965"/>
                </a:lnTo>
                <a:lnTo>
                  <a:pt x="1849" y="3956"/>
                </a:lnTo>
                <a:lnTo>
                  <a:pt x="1843" y="3949"/>
                </a:lnTo>
                <a:lnTo>
                  <a:pt x="1840" y="3941"/>
                </a:lnTo>
                <a:lnTo>
                  <a:pt x="1836" y="3933"/>
                </a:lnTo>
                <a:lnTo>
                  <a:pt x="1835" y="3923"/>
                </a:lnTo>
                <a:lnTo>
                  <a:pt x="1833" y="3915"/>
                </a:lnTo>
                <a:lnTo>
                  <a:pt x="1832" y="3905"/>
                </a:lnTo>
                <a:close/>
                <a:moveTo>
                  <a:pt x="1529" y="3905"/>
                </a:moveTo>
                <a:lnTo>
                  <a:pt x="1529" y="3905"/>
                </a:lnTo>
                <a:lnTo>
                  <a:pt x="1529" y="3895"/>
                </a:lnTo>
                <a:lnTo>
                  <a:pt x="1531" y="3885"/>
                </a:lnTo>
                <a:lnTo>
                  <a:pt x="1533" y="3877"/>
                </a:lnTo>
                <a:lnTo>
                  <a:pt x="1536" y="3868"/>
                </a:lnTo>
                <a:lnTo>
                  <a:pt x="1540" y="3860"/>
                </a:lnTo>
                <a:lnTo>
                  <a:pt x="1545" y="3852"/>
                </a:lnTo>
                <a:lnTo>
                  <a:pt x="1550" y="3845"/>
                </a:lnTo>
                <a:lnTo>
                  <a:pt x="1556" y="3838"/>
                </a:lnTo>
                <a:lnTo>
                  <a:pt x="1563" y="3832"/>
                </a:lnTo>
                <a:lnTo>
                  <a:pt x="1570" y="3827"/>
                </a:lnTo>
                <a:lnTo>
                  <a:pt x="1578" y="3822"/>
                </a:lnTo>
                <a:lnTo>
                  <a:pt x="1586" y="3818"/>
                </a:lnTo>
                <a:lnTo>
                  <a:pt x="1595" y="3815"/>
                </a:lnTo>
                <a:lnTo>
                  <a:pt x="1603" y="3813"/>
                </a:lnTo>
                <a:lnTo>
                  <a:pt x="1613" y="3811"/>
                </a:lnTo>
                <a:lnTo>
                  <a:pt x="1623" y="3811"/>
                </a:lnTo>
                <a:lnTo>
                  <a:pt x="1633" y="3811"/>
                </a:lnTo>
                <a:lnTo>
                  <a:pt x="1641" y="3813"/>
                </a:lnTo>
                <a:lnTo>
                  <a:pt x="1651" y="3815"/>
                </a:lnTo>
                <a:lnTo>
                  <a:pt x="1659" y="3818"/>
                </a:lnTo>
                <a:lnTo>
                  <a:pt x="1667" y="3822"/>
                </a:lnTo>
                <a:lnTo>
                  <a:pt x="1674" y="3827"/>
                </a:lnTo>
                <a:lnTo>
                  <a:pt x="1681" y="3832"/>
                </a:lnTo>
                <a:lnTo>
                  <a:pt x="1688" y="3838"/>
                </a:lnTo>
                <a:lnTo>
                  <a:pt x="1694" y="3845"/>
                </a:lnTo>
                <a:lnTo>
                  <a:pt x="1700" y="3852"/>
                </a:lnTo>
                <a:lnTo>
                  <a:pt x="1705" y="3860"/>
                </a:lnTo>
                <a:lnTo>
                  <a:pt x="1709" y="3868"/>
                </a:lnTo>
                <a:lnTo>
                  <a:pt x="1712" y="3877"/>
                </a:lnTo>
                <a:lnTo>
                  <a:pt x="1713" y="3885"/>
                </a:lnTo>
                <a:lnTo>
                  <a:pt x="1715" y="3895"/>
                </a:lnTo>
                <a:lnTo>
                  <a:pt x="1716" y="3905"/>
                </a:lnTo>
                <a:lnTo>
                  <a:pt x="1715" y="3915"/>
                </a:lnTo>
                <a:lnTo>
                  <a:pt x="1713" y="3923"/>
                </a:lnTo>
                <a:lnTo>
                  <a:pt x="1712" y="3933"/>
                </a:lnTo>
                <a:lnTo>
                  <a:pt x="1709" y="3941"/>
                </a:lnTo>
                <a:lnTo>
                  <a:pt x="1705" y="3949"/>
                </a:lnTo>
                <a:lnTo>
                  <a:pt x="1700" y="3956"/>
                </a:lnTo>
                <a:lnTo>
                  <a:pt x="1694" y="3965"/>
                </a:lnTo>
                <a:lnTo>
                  <a:pt x="1688" y="3970"/>
                </a:lnTo>
                <a:lnTo>
                  <a:pt x="1681" y="3977"/>
                </a:lnTo>
                <a:lnTo>
                  <a:pt x="1674" y="3983"/>
                </a:lnTo>
                <a:lnTo>
                  <a:pt x="1667" y="3987"/>
                </a:lnTo>
                <a:lnTo>
                  <a:pt x="1659" y="3991"/>
                </a:lnTo>
                <a:lnTo>
                  <a:pt x="1651" y="3994"/>
                </a:lnTo>
                <a:lnTo>
                  <a:pt x="1641" y="3997"/>
                </a:lnTo>
                <a:lnTo>
                  <a:pt x="1633" y="3998"/>
                </a:lnTo>
                <a:lnTo>
                  <a:pt x="1623" y="3998"/>
                </a:lnTo>
                <a:lnTo>
                  <a:pt x="1613" y="3998"/>
                </a:lnTo>
                <a:lnTo>
                  <a:pt x="1603" y="3997"/>
                </a:lnTo>
                <a:lnTo>
                  <a:pt x="1595" y="3994"/>
                </a:lnTo>
                <a:lnTo>
                  <a:pt x="1586" y="3991"/>
                </a:lnTo>
                <a:lnTo>
                  <a:pt x="1578" y="3987"/>
                </a:lnTo>
                <a:lnTo>
                  <a:pt x="1570" y="3983"/>
                </a:lnTo>
                <a:lnTo>
                  <a:pt x="1563" y="3977"/>
                </a:lnTo>
                <a:lnTo>
                  <a:pt x="1556" y="3970"/>
                </a:lnTo>
                <a:lnTo>
                  <a:pt x="1550" y="3965"/>
                </a:lnTo>
                <a:lnTo>
                  <a:pt x="1545" y="3956"/>
                </a:lnTo>
                <a:lnTo>
                  <a:pt x="1540" y="3949"/>
                </a:lnTo>
                <a:lnTo>
                  <a:pt x="1536" y="3941"/>
                </a:lnTo>
                <a:lnTo>
                  <a:pt x="1533" y="3933"/>
                </a:lnTo>
                <a:lnTo>
                  <a:pt x="1531" y="3923"/>
                </a:lnTo>
                <a:lnTo>
                  <a:pt x="1529" y="3915"/>
                </a:lnTo>
                <a:lnTo>
                  <a:pt x="1529" y="3905"/>
                </a:lnTo>
                <a:close/>
                <a:moveTo>
                  <a:pt x="1529" y="797"/>
                </a:moveTo>
                <a:lnTo>
                  <a:pt x="1529" y="797"/>
                </a:lnTo>
                <a:lnTo>
                  <a:pt x="1529" y="787"/>
                </a:lnTo>
                <a:lnTo>
                  <a:pt x="1531" y="777"/>
                </a:lnTo>
                <a:lnTo>
                  <a:pt x="1533" y="769"/>
                </a:lnTo>
                <a:lnTo>
                  <a:pt x="1536" y="761"/>
                </a:lnTo>
                <a:lnTo>
                  <a:pt x="1540" y="752"/>
                </a:lnTo>
                <a:lnTo>
                  <a:pt x="1545" y="744"/>
                </a:lnTo>
                <a:lnTo>
                  <a:pt x="1550" y="737"/>
                </a:lnTo>
                <a:lnTo>
                  <a:pt x="1556" y="730"/>
                </a:lnTo>
                <a:lnTo>
                  <a:pt x="1563" y="724"/>
                </a:lnTo>
                <a:lnTo>
                  <a:pt x="1570" y="719"/>
                </a:lnTo>
                <a:lnTo>
                  <a:pt x="1578" y="715"/>
                </a:lnTo>
                <a:lnTo>
                  <a:pt x="1586" y="710"/>
                </a:lnTo>
                <a:lnTo>
                  <a:pt x="1595" y="708"/>
                </a:lnTo>
                <a:lnTo>
                  <a:pt x="1603" y="705"/>
                </a:lnTo>
                <a:lnTo>
                  <a:pt x="1613" y="703"/>
                </a:lnTo>
                <a:lnTo>
                  <a:pt x="1623" y="703"/>
                </a:lnTo>
                <a:lnTo>
                  <a:pt x="1633" y="703"/>
                </a:lnTo>
                <a:lnTo>
                  <a:pt x="1641" y="705"/>
                </a:lnTo>
                <a:lnTo>
                  <a:pt x="1651" y="708"/>
                </a:lnTo>
                <a:lnTo>
                  <a:pt x="1659" y="710"/>
                </a:lnTo>
                <a:lnTo>
                  <a:pt x="1667" y="715"/>
                </a:lnTo>
                <a:lnTo>
                  <a:pt x="1674" y="719"/>
                </a:lnTo>
                <a:lnTo>
                  <a:pt x="1681" y="724"/>
                </a:lnTo>
                <a:lnTo>
                  <a:pt x="1688" y="730"/>
                </a:lnTo>
                <a:lnTo>
                  <a:pt x="1694" y="737"/>
                </a:lnTo>
                <a:lnTo>
                  <a:pt x="1700" y="744"/>
                </a:lnTo>
                <a:lnTo>
                  <a:pt x="1705" y="752"/>
                </a:lnTo>
                <a:lnTo>
                  <a:pt x="1709" y="761"/>
                </a:lnTo>
                <a:lnTo>
                  <a:pt x="1712" y="769"/>
                </a:lnTo>
                <a:lnTo>
                  <a:pt x="1713" y="777"/>
                </a:lnTo>
                <a:lnTo>
                  <a:pt x="1715" y="787"/>
                </a:lnTo>
                <a:lnTo>
                  <a:pt x="1716" y="797"/>
                </a:lnTo>
                <a:lnTo>
                  <a:pt x="1715" y="807"/>
                </a:lnTo>
                <a:lnTo>
                  <a:pt x="1713" y="815"/>
                </a:lnTo>
                <a:lnTo>
                  <a:pt x="1712" y="825"/>
                </a:lnTo>
                <a:lnTo>
                  <a:pt x="1709" y="833"/>
                </a:lnTo>
                <a:lnTo>
                  <a:pt x="1705" y="842"/>
                </a:lnTo>
                <a:lnTo>
                  <a:pt x="1700" y="848"/>
                </a:lnTo>
                <a:lnTo>
                  <a:pt x="1694" y="855"/>
                </a:lnTo>
                <a:lnTo>
                  <a:pt x="1688" y="862"/>
                </a:lnTo>
                <a:lnTo>
                  <a:pt x="1681" y="869"/>
                </a:lnTo>
                <a:lnTo>
                  <a:pt x="1674" y="874"/>
                </a:lnTo>
                <a:lnTo>
                  <a:pt x="1667" y="879"/>
                </a:lnTo>
                <a:lnTo>
                  <a:pt x="1659" y="883"/>
                </a:lnTo>
                <a:lnTo>
                  <a:pt x="1651" y="886"/>
                </a:lnTo>
                <a:lnTo>
                  <a:pt x="1641" y="888"/>
                </a:lnTo>
                <a:lnTo>
                  <a:pt x="1633" y="890"/>
                </a:lnTo>
                <a:lnTo>
                  <a:pt x="1623" y="890"/>
                </a:lnTo>
                <a:lnTo>
                  <a:pt x="1613" y="890"/>
                </a:lnTo>
                <a:lnTo>
                  <a:pt x="1603" y="888"/>
                </a:lnTo>
                <a:lnTo>
                  <a:pt x="1595" y="886"/>
                </a:lnTo>
                <a:lnTo>
                  <a:pt x="1586" y="883"/>
                </a:lnTo>
                <a:lnTo>
                  <a:pt x="1578" y="879"/>
                </a:lnTo>
                <a:lnTo>
                  <a:pt x="1570" y="874"/>
                </a:lnTo>
                <a:lnTo>
                  <a:pt x="1563" y="869"/>
                </a:lnTo>
                <a:lnTo>
                  <a:pt x="1556" y="862"/>
                </a:lnTo>
                <a:lnTo>
                  <a:pt x="1550" y="855"/>
                </a:lnTo>
                <a:lnTo>
                  <a:pt x="1545" y="848"/>
                </a:lnTo>
                <a:lnTo>
                  <a:pt x="1540" y="842"/>
                </a:lnTo>
                <a:lnTo>
                  <a:pt x="1536" y="833"/>
                </a:lnTo>
                <a:lnTo>
                  <a:pt x="1533" y="825"/>
                </a:lnTo>
                <a:lnTo>
                  <a:pt x="1531" y="815"/>
                </a:lnTo>
                <a:lnTo>
                  <a:pt x="1529" y="807"/>
                </a:lnTo>
                <a:lnTo>
                  <a:pt x="1529" y="797"/>
                </a:lnTo>
                <a:close/>
                <a:moveTo>
                  <a:pt x="1529" y="1107"/>
                </a:moveTo>
                <a:lnTo>
                  <a:pt x="1529" y="1107"/>
                </a:lnTo>
                <a:lnTo>
                  <a:pt x="1529" y="1097"/>
                </a:lnTo>
                <a:lnTo>
                  <a:pt x="1531" y="1087"/>
                </a:lnTo>
                <a:lnTo>
                  <a:pt x="1533" y="1079"/>
                </a:lnTo>
                <a:lnTo>
                  <a:pt x="1536" y="1070"/>
                </a:lnTo>
                <a:lnTo>
                  <a:pt x="1540" y="1062"/>
                </a:lnTo>
                <a:lnTo>
                  <a:pt x="1545" y="1054"/>
                </a:lnTo>
                <a:lnTo>
                  <a:pt x="1550" y="1047"/>
                </a:lnTo>
                <a:lnTo>
                  <a:pt x="1556" y="1040"/>
                </a:lnTo>
                <a:lnTo>
                  <a:pt x="1563" y="1034"/>
                </a:lnTo>
                <a:lnTo>
                  <a:pt x="1570" y="1029"/>
                </a:lnTo>
                <a:lnTo>
                  <a:pt x="1578" y="1024"/>
                </a:lnTo>
                <a:lnTo>
                  <a:pt x="1586" y="1020"/>
                </a:lnTo>
                <a:lnTo>
                  <a:pt x="1595" y="1017"/>
                </a:lnTo>
                <a:lnTo>
                  <a:pt x="1603" y="1015"/>
                </a:lnTo>
                <a:lnTo>
                  <a:pt x="1613" y="1013"/>
                </a:lnTo>
                <a:lnTo>
                  <a:pt x="1623" y="1013"/>
                </a:lnTo>
                <a:lnTo>
                  <a:pt x="1633" y="1013"/>
                </a:lnTo>
                <a:lnTo>
                  <a:pt x="1641" y="1015"/>
                </a:lnTo>
                <a:lnTo>
                  <a:pt x="1651" y="1017"/>
                </a:lnTo>
                <a:lnTo>
                  <a:pt x="1659" y="1020"/>
                </a:lnTo>
                <a:lnTo>
                  <a:pt x="1667" y="1024"/>
                </a:lnTo>
                <a:lnTo>
                  <a:pt x="1674" y="1029"/>
                </a:lnTo>
                <a:lnTo>
                  <a:pt x="1681" y="1034"/>
                </a:lnTo>
                <a:lnTo>
                  <a:pt x="1688" y="1040"/>
                </a:lnTo>
                <a:lnTo>
                  <a:pt x="1694" y="1047"/>
                </a:lnTo>
                <a:lnTo>
                  <a:pt x="1700" y="1054"/>
                </a:lnTo>
                <a:lnTo>
                  <a:pt x="1705" y="1062"/>
                </a:lnTo>
                <a:lnTo>
                  <a:pt x="1709" y="1070"/>
                </a:lnTo>
                <a:lnTo>
                  <a:pt x="1712" y="1079"/>
                </a:lnTo>
                <a:lnTo>
                  <a:pt x="1713" y="1087"/>
                </a:lnTo>
                <a:lnTo>
                  <a:pt x="1715" y="1097"/>
                </a:lnTo>
                <a:lnTo>
                  <a:pt x="1716" y="1107"/>
                </a:lnTo>
                <a:lnTo>
                  <a:pt x="1715" y="1116"/>
                </a:lnTo>
                <a:lnTo>
                  <a:pt x="1713" y="1125"/>
                </a:lnTo>
                <a:lnTo>
                  <a:pt x="1712" y="1135"/>
                </a:lnTo>
                <a:lnTo>
                  <a:pt x="1709" y="1143"/>
                </a:lnTo>
                <a:lnTo>
                  <a:pt x="1705" y="1151"/>
                </a:lnTo>
                <a:lnTo>
                  <a:pt x="1700" y="1158"/>
                </a:lnTo>
                <a:lnTo>
                  <a:pt x="1694" y="1167"/>
                </a:lnTo>
                <a:lnTo>
                  <a:pt x="1688" y="1172"/>
                </a:lnTo>
                <a:lnTo>
                  <a:pt x="1681" y="1179"/>
                </a:lnTo>
                <a:lnTo>
                  <a:pt x="1674" y="1185"/>
                </a:lnTo>
                <a:lnTo>
                  <a:pt x="1667" y="1189"/>
                </a:lnTo>
                <a:lnTo>
                  <a:pt x="1659" y="1193"/>
                </a:lnTo>
                <a:lnTo>
                  <a:pt x="1651" y="1196"/>
                </a:lnTo>
                <a:lnTo>
                  <a:pt x="1641" y="1199"/>
                </a:lnTo>
                <a:lnTo>
                  <a:pt x="1633" y="1200"/>
                </a:lnTo>
                <a:lnTo>
                  <a:pt x="1623" y="1200"/>
                </a:lnTo>
                <a:lnTo>
                  <a:pt x="1613" y="1200"/>
                </a:lnTo>
                <a:lnTo>
                  <a:pt x="1603" y="1199"/>
                </a:lnTo>
                <a:lnTo>
                  <a:pt x="1595" y="1196"/>
                </a:lnTo>
                <a:lnTo>
                  <a:pt x="1586" y="1193"/>
                </a:lnTo>
                <a:lnTo>
                  <a:pt x="1578" y="1189"/>
                </a:lnTo>
                <a:lnTo>
                  <a:pt x="1570" y="1185"/>
                </a:lnTo>
                <a:lnTo>
                  <a:pt x="1563" y="1179"/>
                </a:lnTo>
                <a:lnTo>
                  <a:pt x="1556" y="1172"/>
                </a:lnTo>
                <a:lnTo>
                  <a:pt x="1550" y="1167"/>
                </a:lnTo>
                <a:lnTo>
                  <a:pt x="1545" y="1158"/>
                </a:lnTo>
                <a:lnTo>
                  <a:pt x="1540" y="1151"/>
                </a:lnTo>
                <a:lnTo>
                  <a:pt x="1536" y="1143"/>
                </a:lnTo>
                <a:lnTo>
                  <a:pt x="1533" y="1135"/>
                </a:lnTo>
                <a:lnTo>
                  <a:pt x="1531" y="1125"/>
                </a:lnTo>
                <a:lnTo>
                  <a:pt x="1529" y="1116"/>
                </a:lnTo>
                <a:lnTo>
                  <a:pt x="1529" y="1107"/>
                </a:lnTo>
                <a:close/>
                <a:moveTo>
                  <a:pt x="1835" y="487"/>
                </a:moveTo>
                <a:lnTo>
                  <a:pt x="1835" y="487"/>
                </a:lnTo>
                <a:lnTo>
                  <a:pt x="1836" y="477"/>
                </a:lnTo>
                <a:lnTo>
                  <a:pt x="1838" y="468"/>
                </a:lnTo>
                <a:lnTo>
                  <a:pt x="1839" y="459"/>
                </a:lnTo>
                <a:lnTo>
                  <a:pt x="1843" y="449"/>
                </a:lnTo>
                <a:lnTo>
                  <a:pt x="1846" y="442"/>
                </a:lnTo>
                <a:lnTo>
                  <a:pt x="1852" y="434"/>
                </a:lnTo>
                <a:lnTo>
                  <a:pt x="1857" y="427"/>
                </a:lnTo>
                <a:lnTo>
                  <a:pt x="1863" y="420"/>
                </a:lnTo>
                <a:lnTo>
                  <a:pt x="1870" y="414"/>
                </a:lnTo>
                <a:lnTo>
                  <a:pt x="1877" y="409"/>
                </a:lnTo>
                <a:lnTo>
                  <a:pt x="1884" y="405"/>
                </a:lnTo>
                <a:lnTo>
                  <a:pt x="1892" y="401"/>
                </a:lnTo>
                <a:lnTo>
                  <a:pt x="1902" y="396"/>
                </a:lnTo>
                <a:lnTo>
                  <a:pt x="1910" y="395"/>
                </a:lnTo>
                <a:lnTo>
                  <a:pt x="1920" y="394"/>
                </a:lnTo>
                <a:lnTo>
                  <a:pt x="1930" y="392"/>
                </a:lnTo>
                <a:lnTo>
                  <a:pt x="1938" y="394"/>
                </a:lnTo>
                <a:lnTo>
                  <a:pt x="1948" y="395"/>
                </a:lnTo>
                <a:lnTo>
                  <a:pt x="1956" y="396"/>
                </a:lnTo>
                <a:lnTo>
                  <a:pt x="1966" y="401"/>
                </a:lnTo>
                <a:lnTo>
                  <a:pt x="1974" y="405"/>
                </a:lnTo>
                <a:lnTo>
                  <a:pt x="1981" y="409"/>
                </a:lnTo>
                <a:lnTo>
                  <a:pt x="1988" y="414"/>
                </a:lnTo>
                <a:lnTo>
                  <a:pt x="1995" y="420"/>
                </a:lnTo>
                <a:lnTo>
                  <a:pt x="2001" y="427"/>
                </a:lnTo>
                <a:lnTo>
                  <a:pt x="2006" y="434"/>
                </a:lnTo>
                <a:lnTo>
                  <a:pt x="2012" y="442"/>
                </a:lnTo>
                <a:lnTo>
                  <a:pt x="2015" y="449"/>
                </a:lnTo>
                <a:lnTo>
                  <a:pt x="2019" y="459"/>
                </a:lnTo>
                <a:lnTo>
                  <a:pt x="2020" y="468"/>
                </a:lnTo>
                <a:lnTo>
                  <a:pt x="2022" y="477"/>
                </a:lnTo>
                <a:lnTo>
                  <a:pt x="2023" y="487"/>
                </a:lnTo>
                <a:lnTo>
                  <a:pt x="2022" y="495"/>
                </a:lnTo>
                <a:lnTo>
                  <a:pt x="2020" y="505"/>
                </a:lnTo>
                <a:lnTo>
                  <a:pt x="2019" y="515"/>
                </a:lnTo>
                <a:lnTo>
                  <a:pt x="2015" y="523"/>
                </a:lnTo>
                <a:lnTo>
                  <a:pt x="2012" y="532"/>
                </a:lnTo>
                <a:lnTo>
                  <a:pt x="2006" y="539"/>
                </a:lnTo>
                <a:lnTo>
                  <a:pt x="2001" y="546"/>
                </a:lnTo>
                <a:lnTo>
                  <a:pt x="1995" y="553"/>
                </a:lnTo>
                <a:lnTo>
                  <a:pt x="1988" y="558"/>
                </a:lnTo>
                <a:lnTo>
                  <a:pt x="1981" y="564"/>
                </a:lnTo>
                <a:lnTo>
                  <a:pt x="1974" y="569"/>
                </a:lnTo>
                <a:lnTo>
                  <a:pt x="1966" y="572"/>
                </a:lnTo>
                <a:lnTo>
                  <a:pt x="1956" y="576"/>
                </a:lnTo>
                <a:lnTo>
                  <a:pt x="1948" y="578"/>
                </a:lnTo>
                <a:lnTo>
                  <a:pt x="1938" y="579"/>
                </a:lnTo>
                <a:lnTo>
                  <a:pt x="1930" y="581"/>
                </a:lnTo>
                <a:lnTo>
                  <a:pt x="1920" y="579"/>
                </a:lnTo>
                <a:lnTo>
                  <a:pt x="1910" y="578"/>
                </a:lnTo>
                <a:lnTo>
                  <a:pt x="1902" y="576"/>
                </a:lnTo>
                <a:lnTo>
                  <a:pt x="1892" y="572"/>
                </a:lnTo>
                <a:lnTo>
                  <a:pt x="1884" y="569"/>
                </a:lnTo>
                <a:lnTo>
                  <a:pt x="1877" y="564"/>
                </a:lnTo>
                <a:lnTo>
                  <a:pt x="1870" y="558"/>
                </a:lnTo>
                <a:lnTo>
                  <a:pt x="1863" y="553"/>
                </a:lnTo>
                <a:lnTo>
                  <a:pt x="1857" y="546"/>
                </a:lnTo>
                <a:lnTo>
                  <a:pt x="1852" y="539"/>
                </a:lnTo>
                <a:lnTo>
                  <a:pt x="1846" y="532"/>
                </a:lnTo>
                <a:lnTo>
                  <a:pt x="1843" y="523"/>
                </a:lnTo>
                <a:lnTo>
                  <a:pt x="1839" y="515"/>
                </a:lnTo>
                <a:lnTo>
                  <a:pt x="1838" y="505"/>
                </a:lnTo>
                <a:lnTo>
                  <a:pt x="1836" y="495"/>
                </a:lnTo>
                <a:lnTo>
                  <a:pt x="1835" y="487"/>
                </a:lnTo>
                <a:close/>
                <a:moveTo>
                  <a:pt x="2142" y="487"/>
                </a:moveTo>
                <a:lnTo>
                  <a:pt x="2142" y="487"/>
                </a:lnTo>
                <a:lnTo>
                  <a:pt x="2143" y="477"/>
                </a:lnTo>
                <a:lnTo>
                  <a:pt x="2145" y="468"/>
                </a:lnTo>
                <a:lnTo>
                  <a:pt x="2146" y="459"/>
                </a:lnTo>
                <a:lnTo>
                  <a:pt x="2149" y="449"/>
                </a:lnTo>
                <a:lnTo>
                  <a:pt x="2153" y="442"/>
                </a:lnTo>
                <a:lnTo>
                  <a:pt x="2159" y="434"/>
                </a:lnTo>
                <a:lnTo>
                  <a:pt x="2164" y="427"/>
                </a:lnTo>
                <a:lnTo>
                  <a:pt x="2170" y="420"/>
                </a:lnTo>
                <a:lnTo>
                  <a:pt x="2177" y="414"/>
                </a:lnTo>
                <a:lnTo>
                  <a:pt x="2184" y="409"/>
                </a:lnTo>
                <a:lnTo>
                  <a:pt x="2191" y="405"/>
                </a:lnTo>
                <a:lnTo>
                  <a:pt x="2199" y="401"/>
                </a:lnTo>
                <a:lnTo>
                  <a:pt x="2207" y="396"/>
                </a:lnTo>
                <a:lnTo>
                  <a:pt x="2217" y="395"/>
                </a:lnTo>
                <a:lnTo>
                  <a:pt x="2226" y="394"/>
                </a:lnTo>
                <a:lnTo>
                  <a:pt x="2235" y="392"/>
                </a:lnTo>
                <a:lnTo>
                  <a:pt x="2245" y="394"/>
                </a:lnTo>
                <a:lnTo>
                  <a:pt x="2255" y="395"/>
                </a:lnTo>
                <a:lnTo>
                  <a:pt x="2263" y="396"/>
                </a:lnTo>
                <a:lnTo>
                  <a:pt x="2272" y="401"/>
                </a:lnTo>
                <a:lnTo>
                  <a:pt x="2280" y="405"/>
                </a:lnTo>
                <a:lnTo>
                  <a:pt x="2288" y="409"/>
                </a:lnTo>
                <a:lnTo>
                  <a:pt x="2295" y="414"/>
                </a:lnTo>
                <a:lnTo>
                  <a:pt x="2302" y="420"/>
                </a:lnTo>
                <a:lnTo>
                  <a:pt x="2308" y="427"/>
                </a:lnTo>
                <a:lnTo>
                  <a:pt x="2313" y="434"/>
                </a:lnTo>
                <a:lnTo>
                  <a:pt x="2318" y="442"/>
                </a:lnTo>
                <a:lnTo>
                  <a:pt x="2322" y="449"/>
                </a:lnTo>
                <a:lnTo>
                  <a:pt x="2325" y="459"/>
                </a:lnTo>
                <a:lnTo>
                  <a:pt x="2327" y="468"/>
                </a:lnTo>
                <a:lnTo>
                  <a:pt x="2329" y="477"/>
                </a:lnTo>
                <a:lnTo>
                  <a:pt x="2329" y="487"/>
                </a:lnTo>
                <a:lnTo>
                  <a:pt x="2329" y="495"/>
                </a:lnTo>
                <a:lnTo>
                  <a:pt x="2327" y="505"/>
                </a:lnTo>
                <a:lnTo>
                  <a:pt x="2325" y="515"/>
                </a:lnTo>
                <a:lnTo>
                  <a:pt x="2322" y="523"/>
                </a:lnTo>
                <a:lnTo>
                  <a:pt x="2318" y="532"/>
                </a:lnTo>
                <a:lnTo>
                  <a:pt x="2313" y="539"/>
                </a:lnTo>
                <a:lnTo>
                  <a:pt x="2308" y="546"/>
                </a:lnTo>
                <a:lnTo>
                  <a:pt x="2302" y="553"/>
                </a:lnTo>
                <a:lnTo>
                  <a:pt x="2295" y="558"/>
                </a:lnTo>
                <a:lnTo>
                  <a:pt x="2288" y="564"/>
                </a:lnTo>
                <a:lnTo>
                  <a:pt x="2280" y="569"/>
                </a:lnTo>
                <a:lnTo>
                  <a:pt x="2272" y="572"/>
                </a:lnTo>
                <a:lnTo>
                  <a:pt x="2263" y="576"/>
                </a:lnTo>
                <a:lnTo>
                  <a:pt x="2255" y="578"/>
                </a:lnTo>
                <a:lnTo>
                  <a:pt x="2245" y="579"/>
                </a:lnTo>
                <a:lnTo>
                  <a:pt x="2235" y="581"/>
                </a:lnTo>
                <a:lnTo>
                  <a:pt x="2226" y="579"/>
                </a:lnTo>
                <a:lnTo>
                  <a:pt x="2217" y="578"/>
                </a:lnTo>
                <a:lnTo>
                  <a:pt x="2207" y="576"/>
                </a:lnTo>
                <a:lnTo>
                  <a:pt x="2199" y="572"/>
                </a:lnTo>
                <a:lnTo>
                  <a:pt x="2191" y="569"/>
                </a:lnTo>
                <a:lnTo>
                  <a:pt x="2184" y="564"/>
                </a:lnTo>
                <a:lnTo>
                  <a:pt x="2177" y="558"/>
                </a:lnTo>
                <a:lnTo>
                  <a:pt x="2170" y="553"/>
                </a:lnTo>
                <a:lnTo>
                  <a:pt x="2164" y="546"/>
                </a:lnTo>
                <a:lnTo>
                  <a:pt x="2159" y="539"/>
                </a:lnTo>
                <a:lnTo>
                  <a:pt x="2153" y="532"/>
                </a:lnTo>
                <a:lnTo>
                  <a:pt x="2149" y="523"/>
                </a:lnTo>
                <a:lnTo>
                  <a:pt x="2146" y="515"/>
                </a:lnTo>
                <a:lnTo>
                  <a:pt x="2145" y="505"/>
                </a:lnTo>
                <a:lnTo>
                  <a:pt x="2143" y="495"/>
                </a:lnTo>
                <a:lnTo>
                  <a:pt x="2142" y="487"/>
                </a:lnTo>
                <a:close/>
                <a:moveTo>
                  <a:pt x="2449" y="487"/>
                </a:moveTo>
                <a:lnTo>
                  <a:pt x="2449" y="487"/>
                </a:lnTo>
                <a:lnTo>
                  <a:pt x="2449" y="477"/>
                </a:lnTo>
                <a:lnTo>
                  <a:pt x="2450" y="468"/>
                </a:lnTo>
                <a:lnTo>
                  <a:pt x="2453" y="459"/>
                </a:lnTo>
                <a:lnTo>
                  <a:pt x="2456" y="449"/>
                </a:lnTo>
                <a:lnTo>
                  <a:pt x="2460" y="442"/>
                </a:lnTo>
                <a:lnTo>
                  <a:pt x="2464" y="434"/>
                </a:lnTo>
                <a:lnTo>
                  <a:pt x="2470" y="427"/>
                </a:lnTo>
                <a:lnTo>
                  <a:pt x="2477" y="420"/>
                </a:lnTo>
                <a:lnTo>
                  <a:pt x="2482" y="414"/>
                </a:lnTo>
                <a:lnTo>
                  <a:pt x="2491" y="409"/>
                </a:lnTo>
                <a:lnTo>
                  <a:pt x="2498" y="405"/>
                </a:lnTo>
                <a:lnTo>
                  <a:pt x="2506" y="401"/>
                </a:lnTo>
                <a:lnTo>
                  <a:pt x="2514" y="396"/>
                </a:lnTo>
                <a:lnTo>
                  <a:pt x="2524" y="395"/>
                </a:lnTo>
                <a:lnTo>
                  <a:pt x="2533" y="394"/>
                </a:lnTo>
                <a:lnTo>
                  <a:pt x="2542" y="392"/>
                </a:lnTo>
                <a:lnTo>
                  <a:pt x="2552" y="394"/>
                </a:lnTo>
                <a:lnTo>
                  <a:pt x="2562" y="395"/>
                </a:lnTo>
                <a:lnTo>
                  <a:pt x="2570" y="396"/>
                </a:lnTo>
                <a:lnTo>
                  <a:pt x="2579" y="401"/>
                </a:lnTo>
                <a:lnTo>
                  <a:pt x="2587" y="405"/>
                </a:lnTo>
                <a:lnTo>
                  <a:pt x="2595" y="409"/>
                </a:lnTo>
                <a:lnTo>
                  <a:pt x="2602" y="414"/>
                </a:lnTo>
                <a:lnTo>
                  <a:pt x="2609" y="420"/>
                </a:lnTo>
                <a:lnTo>
                  <a:pt x="2615" y="427"/>
                </a:lnTo>
                <a:lnTo>
                  <a:pt x="2620" y="434"/>
                </a:lnTo>
                <a:lnTo>
                  <a:pt x="2625" y="442"/>
                </a:lnTo>
                <a:lnTo>
                  <a:pt x="2629" y="449"/>
                </a:lnTo>
                <a:lnTo>
                  <a:pt x="2632" y="459"/>
                </a:lnTo>
                <a:lnTo>
                  <a:pt x="2634" y="468"/>
                </a:lnTo>
                <a:lnTo>
                  <a:pt x="2636" y="477"/>
                </a:lnTo>
                <a:lnTo>
                  <a:pt x="2636" y="487"/>
                </a:lnTo>
                <a:lnTo>
                  <a:pt x="2636" y="495"/>
                </a:lnTo>
                <a:lnTo>
                  <a:pt x="2634" y="505"/>
                </a:lnTo>
                <a:lnTo>
                  <a:pt x="2632" y="515"/>
                </a:lnTo>
                <a:lnTo>
                  <a:pt x="2629" y="523"/>
                </a:lnTo>
                <a:lnTo>
                  <a:pt x="2625" y="532"/>
                </a:lnTo>
                <a:lnTo>
                  <a:pt x="2620" y="539"/>
                </a:lnTo>
                <a:lnTo>
                  <a:pt x="2615" y="546"/>
                </a:lnTo>
                <a:lnTo>
                  <a:pt x="2609" y="553"/>
                </a:lnTo>
                <a:lnTo>
                  <a:pt x="2602" y="558"/>
                </a:lnTo>
                <a:lnTo>
                  <a:pt x="2595" y="564"/>
                </a:lnTo>
                <a:lnTo>
                  <a:pt x="2587" y="569"/>
                </a:lnTo>
                <a:lnTo>
                  <a:pt x="2579" y="572"/>
                </a:lnTo>
                <a:lnTo>
                  <a:pt x="2570" y="576"/>
                </a:lnTo>
                <a:lnTo>
                  <a:pt x="2562" y="578"/>
                </a:lnTo>
                <a:lnTo>
                  <a:pt x="2552" y="579"/>
                </a:lnTo>
                <a:lnTo>
                  <a:pt x="2542" y="581"/>
                </a:lnTo>
                <a:lnTo>
                  <a:pt x="2533" y="579"/>
                </a:lnTo>
                <a:lnTo>
                  <a:pt x="2524" y="578"/>
                </a:lnTo>
                <a:lnTo>
                  <a:pt x="2514" y="576"/>
                </a:lnTo>
                <a:lnTo>
                  <a:pt x="2506" y="572"/>
                </a:lnTo>
                <a:lnTo>
                  <a:pt x="2498" y="569"/>
                </a:lnTo>
                <a:lnTo>
                  <a:pt x="2491" y="564"/>
                </a:lnTo>
                <a:lnTo>
                  <a:pt x="2482" y="558"/>
                </a:lnTo>
                <a:lnTo>
                  <a:pt x="2477" y="553"/>
                </a:lnTo>
                <a:lnTo>
                  <a:pt x="2470" y="546"/>
                </a:lnTo>
                <a:lnTo>
                  <a:pt x="2464" y="539"/>
                </a:lnTo>
                <a:lnTo>
                  <a:pt x="2460" y="532"/>
                </a:lnTo>
                <a:lnTo>
                  <a:pt x="2456" y="523"/>
                </a:lnTo>
                <a:lnTo>
                  <a:pt x="2453" y="515"/>
                </a:lnTo>
                <a:lnTo>
                  <a:pt x="2450" y="505"/>
                </a:lnTo>
                <a:lnTo>
                  <a:pt x="2449" y="495"/>
                </a:lnTo>
                <a:lnTo>
                  <a:pt x="2449" y="487"/>
                </a:lnTo>
                <a:close/>
                <a:moveTo>
                  <a:pt x="2756" y="487"/>
                </a:moveTo>
                <a:lnTo>
                  <a:pt x="2756" y="487"/>
                </a:lnTo>
                <a:lnTo>
                  <a:pt x="2756" y="477"/>
                </a:lnTo>
                <a:lnTo>
                  <a:pt x="2757" y="468"/>
                </a:lnTo>
                <a:lnTo>
                  <a:pt x="2760" y="459"/>
                </a:lnTo>
                <a:lnTo>
                  <a:pt x="2763" y="449"/>
                </a:lnTo>
                <a:lnTo>
                  <a:pt x="2767" y="442"/>
                </a:lnTo>
                <a:lnTo>
                  <a:pt x="2771" y="434"/>
                </a:lnTo>
                <a:lnTo>
                  <a:pt x="2777" y="427"/>
                </a:lnTo>
                <a:lnTo>
                  <a:pt x="2782" y="420"/>
                </a:lnTo>
                <a:lnTo>
                  <a:pt x="2789" y="414"/>
                </a:lnTo>
                <a:lnTo>
                  <a:pt x="2796" y="409"/>
                </a:lnTo>
                <a:lnTo>
                  <a:pt x="2805" y="405"/>
                </a:lnTo>
                <a:lnTo>
                  <a:pt x="2813" y="401"/>
                </a:lnTo>
                <a:lnTo>
                  <a:pt x="2821" y="396"/>
                </a:lnTo>
                <a:lnTo>
                  <a:pt x="2830" y="395"/>
                </a:lnTo>
                <a:lnTo>
                  <a:pt x="2840" y="394"/>
                </a:lnTo>
                <a:lnTo>
                  <a:pt x="2849" y="392"/>
                </a:lnTo>
                <a:lnTo>
                  <a:pt x="2859" y="394"/>
                </a:lnTo>
                <a:lnTo>
                  <a:pt x="2867" y="395"/>
                </a:lnTo>
                <a:lnTo>
                  <a:pt x="2877" y="396"/>
                </a:lnTo>
                <a:lnTo>
                  <a:pt x="2886" y="401"/>
                </a:lnTo>
                <a:lnTo>
                  <a:pt x="2894" y="405"/>
                </a:lnTo>
                <a:lnTo>
                  <a:pt x="2901" y="409"/>
                </a:lnTo>
                <a:lnTo>
                  <a:pt x="2909" y="414"/>
                </a:lnTo>
                <a:lnTo>
                  <a:pt x="2915" y="420"/>
                </a:lnTo>
                <a:lnTo>
                  <a:pt x="2922" y="427"/>
                </a:lnTo>
                <a:lnTo>
                  <a:pt x="2927" y="434"/>
                </a:lnTo>
                <a:lnTo>
                  <a:pt x="2932" y="442"/>
                </a:lnTo>
                <a:lnTo>
                  <a:pt x="2936" y="449"/>
                </a:lnTo>
                <a:lnTo>
                  <a:pt x="2939" y="459"/>
                </a:lnTo>
                <a:lnTo>
                  <a:pt x="2941" y="468"/>
                </a:lnTo>
                <a:lnTo>
                  <a:pt x="2943" y="477"/>
                </a:lnTo>
                <a:lnTo>
                  <a:pt x="2943" y="487"/>
                </a:lnTo>
                <a:lnTo>
                  <a:pt x="2943" y="495"/>
                </a:lnTo>
                <a:lnTo>
                  <a:pt x="2941" y="505"/>
                </a:lnTo>
                <a:lnTo>
                  <a:pt x="2939" y="515"/>
                </a:lnTo>
                <a:lnTo>
                  <a:pt x="2936" y="523"/>
                </a:lnTo>
                <a:lnTo>
                  <a:pt x="2932" y="532"/>
                </a:lnTo>
                <a:lnTo>
                  <a:pt x="2927" y="539"/>
                </a:lnTo>
                <a:lnTo>
                  <a:pt x="2922" y="546"/>
                </a:lnTo>
                <a:lnTo>
                  <a:pt x="2915" y="553"/>
                </a:lnTo>
                <a:lnTo>
                  <a:pt x="2909" y="558"/>
                </a:lnTo>
                <a:lnTo>
                  <a:pt x="2901" y="564"/>
                </a:lnTo>
                <a:lnTo>
                  <a:pt x="2894" y="569"/>
                </a:lnTo>
                <a:lnTo>
                  <a:pt x="2886" y="572"/>
                </a:lnTo>
                <a:lnTo>
                  <a:pt x="2877" y="576"/>
                </a:lnTo>
                <a:lnTo>
                  <a:pt x="2867" y="578"/>
                </a:lnTo>
                <a:lnTo>
                  <a:pt x="2859" y="579"/>
                </a:lnTo>
                <a:lnTo>
                  <a:pt x="2849" y="581"/>
                </a:lnTo>
                <a:lnTo>
                  <a:pt x="2840" y="579"/>
                </a:lnTo>
                <a:lnTo>
                  <a:pt x="2830" y="578"/>
                </a:lnTo>
                <a:lnTo>
                  <a:pt x="2821" y="576"/>
                </a:lnTo>
                <a:lnTo>
                  <a:pt x="2813" y="572"/>
                </a:lnTo>
                <a:lnTo>
                  <a:pt x="2805" y="569"/>
                </a:lnTo>
                <a:lnTo>
                  <a:pt x="2796" y="564"/>
                </a:lnTo>
                <a:lnTo>
                  <a:pt x="2789" y="558"/>
                </a:lnTo>
                <a:lnTo>
                  <a:pt x="2782" y="553"/>
                </a:lnTo>
                <a:lnTo>
                  <a:pt x="2777" y="546"/>
                </a:lnTo>
                <a:lnTo>
                  <a:pt x="2771" y="539"/>
                </a:lnTo>
                <a:lnTo>
                  <a:pt x="2767" y="532"/>
                </a:lnTo>
                <a:lnTo>
                  <a:pt x="2763" y="523"/>
                </a:lnTo>
                <a:lnTo>
                  <a:pt x="2760" y="515"/>
                </a:lnTo>
                <a:lnTo>
                  <a:pt x="2757" y="505"/>
                </a:lnTo>
                <a:lnTo>
                  <a:pt x="2756" y="495"/>
                </a:lnTo>
                <a:lnTo>
                  <a:pt x="2756" y="487"/>
                </a:lnTo>
                <a:close/>
                <a:moveTo>
                  <a:pt x="3063" y="487"/>
                </a:moveTo>
                <a:lnTo>
                  <a:pt x="3063" y="487"/>
                </a:lnTo>
                <a:lnTo>
                  <a:pt x="3063" y="477"/>
                </a:lnTo>
                <a:lnTo>
                  <a:pt x="3064" y="468"/>
                </a:lnTo>
                <a:lnTo>
                  <a:pt x="3067" y="459"/>
                </a:lnTo>
                <a:lnTo>
                  <a:pt x="3070" y="449"/>
                </a:lnTo>
                <a:lnTo>
                  <a:pt x="3074" y="442"/>
                </a:lnTo>
                <a:lnTo>
                  <a:pt x="3078" y="434"/>
                </a:lnTo>
                <a:lnTo>
                  <a:pt x="3084" y="427"/>
                </a:lnTo>
                <a:lnTo>
                  <a:pt x="3089" y="420"/>
                </a:lnTo>
                <a:lnTo>
                  <a:pt x="3096" y="414"/>
                </a:lnTo>
                <a:lnTo>
                  <a:pt x="3103" y="409"/>
                </a:lnTo>
                <a:lnTo>
                  <a:pt x="3112" y="405"/>
                </a:lnTo>
                <a:lnTo>
                  <a:pt x="3120" y="401"/>
                </a:lnTo>
                <a:lnTo>
                  <a:pt x="3128" y="396"/>
                </a:lnTo>
                <a:lnTo>
                  <a:pt x="3137" y="395"/>
                </a:lnTo>
                <a:lnTo>
                  <a:pt x="3146" y="394"/>
                </a:lnTo>
                <a:lnTo>
                  <a:pt x="3156" y="392"/>
                </a:lnTo>
                <a:lnTo>
                  <a:pt x="3166" y="394"/>
                </a:lnTo>
                <a:lnTo>
                  <a:pt x="3174" y="395"/>
                </a:lnTo>
                <a:lnTo>
                  <a:pt x="3184" y="396"/>
                </a:lnTo>
                <a:lnTo>
                  <a:pt x="3193" y="401"/>
                </a:lnTo>
                <a:lnTo>
                  <a:pt x="3201" y="405"/>
                </a:lnTo>
                <a:lnTo>
                  <a:pt x="3208" y="409"/>
                </a:lnTo>
                <a:lnTo>
                  <a:pt x="3215" y="414"/>
                </a:lnTo>
                <a:lnTo>
                  <a:pt x="3222" y="420"/>
                </a:lnTo>
                <a:lnTo>
                  <a:pt x="3229" y="427"/>
                </a:lnTo>
                <a:lnTo>
                  <a:pt x="3233" y="434"/>
                </a:lnTo>
                <a:lnTo>
                  <a:pt x="3239" y="442"/>
                </a:lnTo>
                <a:lnTo>
                  <a:pt x="3243" y="449"/>
                </a:lnTo>
                <a:lnTo>
                  <a:pt x="3246" y="459"/>
                </a:lnTo>
                <a:lnTo>
                  <a:pt x="3248" y="468"/>
                </a:lnTo>
                <a:lnTo>
                  <a:pt x="3250" y="477"/>
                </a:lnTo>
                <a:lnTo>
                  <a:pt x="3250" y="487"/>
                </a:lnTo>
                <a:lnTo>
                  <a:pt x="3250" y="495"/>
                </a:lnTo>
                <a:lnTo>
                  <a:pt x="3248" y="505"/>
                </a:lnTo>
                <a:lnTo>
                  <a:pt x="3246" y="515"/>
                </a:lnTo>
                <a:lnTo>
                  <a:pt x="3243" y="523"/>
                </a:lnTo>
                <a:lnTo>
                  <a:pt x="3239" y="532"/>
                </a:lnTo>
                <a:lnTo>
                  <a:pt x="3233" y="539"/>
                </a:lnTo>
                <a:lnTo>
                  <a:pt x="3229" y="546"/>
                </a:lnTo>
                <a:lnTo>
                  <a:pt x="3222" y="553"/>
                </a:lnTo>
                <a:lnTo>
                  <a:pt x="3215" y="558"/>
                </a:lnTo>
                <a:lnTo>
                  <a:pt x="3208" y="564"/>
                </a:lnTo>
                <a:lnTo>
                  <a:pt x="3201" y="569"/>
                </a:lnTo>
                <a:lnTo>
                  <a:pt x="3193" y="572"/>
                </a:lnTo>
                <a:lnTo>
                  <a:pt x="3184" y="576"/>
                </a:lnTo>
                <a:lnTo>
                  <a:pt x="3174" y="578"/>
                </a:lnTo>
                <a:lnTo>
                  <a:pt x="3166" y="579"/>
                </a:lnTo>
                <a:lnTo>
                  <a:pt x="3156" y="581"/>
                </a:lnTo>
                <a:lnTo>
                  <a:pt x="3146" y="579"/>
                </a:lnTo>
                <a:lnTo>
                  <a:pt x="3137" y="578"/>
                </a:lnTo>
                <a:lnTo>
                  <a:pt x="3128" y="576"/>
                </a:lnTo>
                <a:lnTo>
                  <a:pt x="3120" y="572"/>
                </a:lnTo>
                <a:lnTo>
                  <a:pt x="3112" y="569"/>
                </a:lnTo>
                <a:lnTo>
                  <a:pt x="3103" y="564"/>
                </a:lnTo>
                <a:lnTo>
                  <a:pt x="3096" y="558"/>
                </a:lnTo>
                <a:lnTo>
                  <a:pt x="3089" y="553"/>
                </a:lnTo>
                <a:lnTo>
                  <a:pt x="3084" y="546"/>
                </a:lnTo>
                <a:lnTo>
                  <a:pt x="3078" y="539"/>
                </a:lnTo>
                <a:lnTo>
                  <a:pt x="3074" y="532"/>
                </a:lnTo>
                <a:lnTo>
                  <a:pt x="3070" y="523"/>
                </a:lnTo>
                <a:lnTo>
                  <a:pt x="3067" y="515"/>
                </a:lnTo>
                <a:lnTo>
                  <a:pt x="3064" y="505"/>
                </a:lnTo>
                <a:lnTo>
                  <a:pt x="3063" y="495"/>
                </a:lnTo>
                <a:lnTo>
                  <a:pt x="3063" y="487"/>
                </a:lnTo>
                <a:close/>
                <a:moveTo>
                  <a:pt x="1529" y="487"/>
                </a:moveTo>
                <a:lnTo>
                  <a:pt x="1529" y="487"/>
                </a:lnTo>
                <a:lnTo>
                  <a:pt x="1529" y="477"/>
                </a:lnTo>
                <a:lnTo>
                  <a:pt x="1531" y="468"/>
                </a:lnTo>
                <a:lnTo>
                  <a:pt x="1533" y="459"/>
                </a:lnTo>
                <a:lnTo>
                  <a:pt x="1536" y="449"/>
                </a:lnTo>
                <a:lnTo>
                  <a:pt x="1540" y="442"/>
                </a:lnTo>
                <a:lnTo>
                  <a:pt x="1545" y="434"/>
                </a:lnTo>
                <a:lnTo>
                  <a:pt x="1550" y="427"/>
                </a:lnTo>
                <a:lnTo>
                  <a:pt x="1556" y="420"/>
                </a:lnTo>
                <a:lnTo>
                  <a:pt x="1563" y="414"/>
                </a:lnTo>
                <a:lnTo>
                  <a:pt x="1570" y="409"/>
                </a:lnTo>
                <a:lnTo>
                  <a:pt x="1578" y="405"/>
                </a:lnTo>
                <a:lnTo>
                  <a:pt x="1586" y="401"/>
                </a:lnTo>
                <a:lnTo>
                  <a:pt x="1595" y="396"/>
                </a:lnTo>
                <a:lnTo>
                  <a:pt x="1603" y="395"/>
                </a:lnTo>
                <a:lnTo>
                  <a:pt x="1613" y="394"/>
                </a:lnTo>
                <a:lnTo>
                  <a:pt x="1623" y="392"/>
                </a:lnTo>
                <a:lnTo>
                  <a:pt x="1633" y="394"/>
                </a:lnTo>
                <a:lnTo>
                  <a:pt x="1641" y="395"/>
                </a:lnTo>
                <a:lnTo>
                  <a:pt x="1651" y="396"/>
                </a:lnTo>
                <a:lnTo>
                  <a:pt x="1659" y="401"/>
                </a:lnTo>
                <a:lnTo>
                  <a:pt x="1667" y="405"/>
                </a:lnTo>
                <a:lnTo>
                  <a:pt x="1674" y="409"/>
                </a:lnTo>
                <a:lnTo>
                  <a:pt x="1681" y="414"/>
                </a:lnTo>
                <a:lnTo>
                  <a:pt x="1688" y="420"/>
                </a:lnTo>
                <a:lnTo>
                  <a:pt x="1694" y="427"/>
                </a:lnTo>
                <a:lnTo>
                  <a:pt x="1700" y="434"/>
                </a:lnTo>
                <a:lnTo>
                  <a:pt x="1705" y="442"/>
                </a:lnTo>
                <a:lnTo>
                  <a:pt x="1709" y="449"/>
                </a:lnTo>
                <a:lnTo>
                  <a:pt x="1712" y="459"/>
                </a:lnTo>
                <a:lnTo>
                  <a:pt x="1713" y="468"/>
                </a:lnTo>
                <a:lnTo>
                  <a:pt x="1715" y="477"/>
                </a:lnTo>
                <a:lnTo>
                  <a:pt x="1716" y="487"/>
                </a:lnTo>
                <a:lnTo>
                  <a:pt x="1715" y="495"/>
                </a:lnTo>
                <a:lnTo>
                  <a:pt x="1713" y="505"/>
                </a:lnTo>
                <a:lnTo>
                  <a:pt x="1712" y="515"/>
                </a:lnTo>
                <a:lnTo>
                  <a:pt x="1709" y="523"/>
                </a:lnTo>
                <a:lnTo>
                  <a:pt x="1705" y="532"/>
                </a:lnTo>
                <a:lnTo>
                  <a:pt x="1700" y="539"/>
                </a:lnTo>
                <a:lnTo>
                  <a:pt x="1694" y="546"/>
                </a:lnTo>
                <a:lnTo>
                  <a:pt x="1688" y="553"/>
                </a:lnTo>
                <a:lnTo>
                  <a:pt x="1681" y="558"/>
                </a:lnTo>
                <a:lnTo>
                  <a:pt x="1674" y="564"/>
                </a:lnTo>
                <a:lnTo>
                  <a:pt x="1667" y="569"/>
                </a:lnTo>
                <a:lnTo>
                  <a:pt x="1659" y="572"/>
                </a:lnTo>
                <a:lnTo>
                  <a:pt x="1651" y="576"/>
                </a:lnTo>
                <a:lnTo>
                  <a:pt x="1641" y="578"/>
                </a:lnTo>
                <a:lnTo>
                  <a:pt x="1633" y="579"/>
                </a:lnTo>
                <a:lnTo>
                  <a:pt x="1623" y="581"/>
                </a:lnTo>
                <a:lnTo>
                  <a:pt x="1613" y="579"/>
                </a:lnTo>
                <a:lnTo>
                  <a:pt x="1603" y="578"/>
                </a:lnTo>
                <a:lnTo>
                  <a:pt x="1595" y="576"/>
                </a:lnTo>
                <a:lnTo>
                  <a:pt x="1586" y="572"/>
                </a:lnTo>
                <a:lnTo>
                  <a:pt x="1578" y="569"/>
                </a:lnTo>
                <a:lnTo>
                  <a:pt x="1570" y="564"/>
                </a:lnTo>
                <a:lnTo>
                  <a:pt x="1563" y="558"/>
                </a:lnTo>
                <a:lnTo>
                  <a:pt x="1556" y="553"/>
                </a:lnTo>
                <a:lnTo>
                  <a:pt x="1550" y="546"/>
                </a:lnTo>
                <a:lnTo>
                  <a:pt x="1545" y="539"/>
                </a:lnTo>
                <a:lnTo>
                  <a:pt x="1540" y="532"/>
                </a:lnTo>
                <a:lnTo>
                  <a:pt x="1536" y="523"/>
                </a:lnTo>
                <a:lnTo>
                  <a:pt x="1533" y="515"/>
                </a:lnTo>
                <a:lnTo>
                  <a:pt x="1531" y="505"/>
                </a:lnTo>
                <a:lnTo>
                  <a:pt x="1529" y="495"/>
                </a:lnTo>
                <a:lnTo>
                  <a:pt x="1529" y="487"/>
                </a:lnTo>
                <a:close/>
                <a:moveTo>
                  <a:pt x="3726" y="1107"/>
                </a:moveTo>
                <a:lnTo>
                  <a:pt x="3726" y="1107"/>
                </a:lnTo>
                <a:lnTo>
                  <a:pt x="3727" y="1097"/>
                </a:lnTo>
                <a:lnTo>
                  <a:pt x="3728" y="1087"/>
                </a:lnTo>
                <a:lnTo>
                  <a:pt x="3730" y="1079"/>
                </a:lnTo>
                <a:lnTo>
                  <a:pt x="3734" y="1070"/>
                </a:lnTo>
                <a:lnTo>
                  <a:pt x="3737" y="1062"/>
                </a:lnTo>
                <a:lnTo>
                  <a:pt x="3742" y="1054"/>
                </a:lnTo>
                <a:lnTo>
                  <a:pt x="3748" y="1047"/>
                </a:lnTo>
                <a:lnTo>
                  <a:pt x="3753" y="1040"/>
                </a:lnTo>
                <a:lnTo>
                  <a:pt x="3760" y="1034"/>
                </a:lnTo>
                <a:lnTo>
                  <a:pt x="3767" y="1029"/>
                </a:lnTo>
                <a:lnTo>
                  <a:pt x="3776" y="1024"/>
                </a:lnTo>
                <a:lnTo>
                  <a:pt x="3783" y="1020"/>
                </a:lnTo>
                <a:lnTo>
                  <a:pt x="3793" y="1017"/>
                </a:lnTo>
                <a:lnTo>
                  <a:pt x="3801" y="1015"/>
                </a:lnTo>
                <a:lnTo>
                  <a:pt x="3811" y="1013"/>
                </a:lnTo>
                <a:lnTo>
                  <a:pt x="3820" y="1013"/>
                </a:lnTo>
                <a:lnTo>
                  <a:pt x="3829" y="1013"/>
                </a:lnTo>
                <a:lnTo>
                  <a:pt x="3839" y="1015"/>
                </a:lnTo>
                <a:lnTo>
                  <a:pt x="3847" y="1017"/>
                </a:lnTo>
                <a:lnTo>
                  <a:pt x="3857" y="1020"/>
                </a:lnTo>
                <a:lnTo>
                  <a:pt x="3865" y="1024"/>
                </a:lnTo>
                <a:lnTo>
                  <a:pt x="3872" y="1029"/>
                </a:lnTo>
                <a:lnTo>
                  <a:pt x="3879" y="1034"/>
                </a:lnTo>
                <a:lnTo>
                  <a:pt x="3886" y="1040"/>
                </a:lnTo>
                <a:lnTo>
                  <a:pt x="3892" y="1047"/>
                </a:lnTo>
                <a:lnTo>
                  <a:pt x="3897" y="1054"/>
                </a:lnTo>
                <a:lnTo>
                  <a:pt x="3903" y="1062"/>
                </a:lnTo>
                <a:lnTo>
                  <a:pt x="3906" y="1070"/>
                </a:lnTo>
                <a:lnTo>
                  <a:pt x="3910" y="1079"/>
                </a:lnTo>
                <a:lnTo>
                  <a:pt x="3911" y="1087"/>
                </a:lnTo>
                <a:lnTo>
                  <a:pt x="3913" y="1097"/>
                </a:lnTo>
                <a:lnTo>
                  <a:pt x="3914" y="1107"/>
                </a:lnTo>
                <a:lnTo>
                  <a:pt x="3913" y="1116"/>
                </a:lnTo>
                <a:lnTo>
                  <a:pt x="3911" y="1125"/>
                </a:lnTo>
                <a:lnTo>
                  <a:pt x="3910" y="1135"/>
                </a:lnTo>
                <a:lnTo>
                  <a:pt x="3906" y="1143"/>
                </a:lnTo>
                <a:lnTo>
                  <a:pt x="3903" y="1151"/>
                </a:lnTo>
                <a:lnTo>
                  <a:pt x="3897" y="1158"/>
                </a:lnTo>
                <a:lnTo>
                  <a:pt x="3892" y="1167"/>
                </a:lnTo>
                <a:lnTo>
                  <a:pt x="3886" y="1172"/>
                </a:lnTo>
                <a:lnTo>
                  <a:pt x="3879" y="1179"/>
                </a:lnTo>
                <a:lnTo>
                  <a:pt x="3872" y="1185"/>
                </a:lnTo>
                <a:lnTo>
                  <a:pt x="3865" y="1189"/>
                </a:lnTo>
                <a:lnTo>
                  <a:pt x="3857" y="1193"/>
                </a:lnTo>
                <a:lnTo>
                  <a:pt x="3847" y="1196"/>
                </a:lnTo>
                <a:lnTo>
                  <a:pt x="3839" y="1199"/>
                </a:lnTo>
                <a:lnTo>
                  <a:pt x="3829" y="1200"/>
                </a:lnTo>
                <a:lnTo>
                  <a:pt x="3820" y="1200"/>
                </a:lnTo>
                <a:lnTo>
                  <a:pt x="3811" y="1200"/>
                </a:lnTo>
                <a:lnTo>
                  <a:pt x="3801" y="1199"/>
                </a:lnTo>
                <a:lnTo>
                  <a:pt x="3793" y="1196"/>
                </a:lnTo>
                <a:lnTo>
                  <a:pt x="3783" y="1193"/>
                </a:lnTo>
                <a:lnTo>
                  <a:pt x="3776" y="1189"/>
                </a:lnTo>
                <a:lnTo>
                  <a:pt x="3767" y="1185"/>
                </a:lnTo>
                <a:lnTo>
                  <a:pt x="3760" y="1179"/>
                </a:lnTo>
                <a:lnTo>
                  <a:pt x="3753" y="1172"/>
                </a:lnTo>
                <a:lnTo>
                  <a:pt x="3748" y="1167"/>
                </a:lnTo>
                <a:lnTo>
                  <a:pt x="3742" y="1158"/>
                </a:lnTo>
                <a:lnTo>
                  <a:pt x="3737" y="1151"/>
                </a:lnTo>
                <a:lnTo>
                  <a:pt x="3734" y="1143"/>
                </a:lnTo>
                <a:lnTo>
                  <a:pt x="3730" y="1135"/>
                </a:lnTo>
                <a:lnTo>
                  <a:pt x="3728" y="1125"/>
                </a:lnTo>
                <a:lnTo>
                  <a:pt x="3727" y="1116"/>
                </a:lnTo>
                <a:lnTo>
                  <a:pt x="3726" y="1107"/>
                </a:lnTo>
                <a:close/>
                <a:moveTo>
                  <a:pt x="3726" y="1418"/>
                </a:moveTo>
                <a:lnTo>
                  <a:pt x="3726" y="1418"/>
                </a:lnTo>
                <a:lnTo>
                  <a:pt x="3727" y="1408"/>
                </a:lnTo>
                <a:lnTo>
                  <a:pt x="3728" y="1398"/>
                </a:lnTo>
                <a:lnTo>
                  <a:pt x="3730" y="1390"/>
                </a:lnTo>
                <a:lnTo>
                  <a:pt x="3734" y="1382"/>
                </a:lnTo>
                <a:lnTo>
                  <a:pt x="3737" y="1373"/>
                </a:lnTo>
                <a:lnTo>
                  <a:pt x="3742" y="1365"/>
                </a:lnTo>
                <a:lnTo>
                  <a:pt x="3748" y="1358"/>
                </a:lnTo>
                <a:lnTo>
                  <a:pt x="3753" y="1351"/>
                </a:lnTo>
                <a:lnTo>
                  <a:pt x="3760" y="1345"/>
                </a:lnTo>
                <a:lnTo>
                  <a:pt x="3767" y="1340"/>
                </a:lnTo>
                <a:lnTo>
                  <a:pt x="3776" y="1336"/>
                </a:lnTo>
                <a:lnTo>
                  <a:pt x="3783" y="1331"/>
                </a:lnTo>
                <a:lnTo>
                  <a:pt x="3793" y="1329"/>
                </a:lnTo>
                <a:lnTo>
                  <a:pt x="3801" y="1326"/>
                </a:lnTo>
                <a:lnTo>
                  <a:pt x="3811" y="1324"/>
                </a:lnTo>
                <a:lnTo>
                  <a:pt x="3820" y="1324"/>
                </a:lnTo>
                <a:lnTo>
                  <a:pt x="3829" y="1324"/>
                </a:lnTo>
                <a:lnTo>
                  <a:pt x="3839" y="1326"/>
                </a:lnTo>
                <a:lnTo>
                  <a:pt x="3847" y="1329"/>
                </a:lnTo>
                <a:lnTo>
                  <a:pt x="3857" y="1331"/>
                </a:lnTo>
                <a:lnTo>
                  <a:pt x="3865" y="1336"/>
                </a:lnTo>
                <a:lnTo>
                  <a:pt x="3872" y="1340"/>
                </a:lnTo>
                <a:lnTo>
                  <a:pt x="3879" y="1345"/>
                </a:lnTo>
                <a:lnTo>
                  <a:pt x="3886" y="1351"/>
                </a:lnTo>
                <a:lnTo>
                  <a:pt x="3892" y="1358"/>
                </a:lnTo>
                <a:lnTo>
                  <a:pt x="3897" y="1365"/>
                </a:lnTo>
                <a:lnTo>
                  <a:pt x="3903" y="1373"/>
                </a:lnTo>
                <a:lnTo>
                  <a:pt x="3906" y="1382"/>
                </a:lnTo>
                <a:lnTo>
                  <a:pt x="3910" y="1390"/>
                </a:lnTo>
                <a:lnTo>
                  <a:pt x="3911" y="1398"/>
                </a:lnTo>
                <a:lnTo>
                  <a:pt x="3913" y="1408"/>
                </a:lnTo>
                <a:lnTo>
                  <a:pt x="3914" y="1418"/>
                </a:lnTo>
                <a:lnTo>
                  <a:pt x="3913" y="1428"/>
                </a:lnTo>
                <a:lnTo>
                  <a:pt x="3911" y="1436"/>
                </a:lnTo>
                <a:lnTo>
                  <a:pt x="3910" y="1446"/>
                </a:lnTo>
                <a:lnTo>
                  <a:pt x="3906" y="1454"/>
                </a:lnTo>
                <a:lnTo>
                  <a:pt x="3903" y="1463"/>
                </a:lnTo>
                <a:lnTo>
                  <a:pt x="3897" y="1470"/>
                </a:lnTo>
                <a:lnTo>
                  <a:pt x="3892" y="1476"/>
                </a:lnTo>
                <a:lnTo>
                  <a:pt x="3886" y="1483"/>
                </a:lnTo>
                <a:lnTo>
                  <a:pt x="3879" y="1489"/>
                </a:lnTo>
                <a:lnTo>
                  <a:pt x="3872" y="1495"/>
                </a:lnTo>
                <a:lnTo>
                  <a:pt x="3865" y="1500"/>
                </a:lnTo>
                <a:lnTo>
                  <a:pt x="3857" y="1504"/>
                </a:lnTo>
                <a:lnTo>
                  <a:pt x="3847" y="1507"/>
                </a:lnTo>
                <a:lnTo>
                  <a:pt x="3839" y="1509"/>
                </a:lnTo>
                <a:lnTo>
                  <a:pt x="3829" y="1510"/>
                </a:lnTo>
                <a:lnTo>
                  <a:pt x="3820" y="1511"/>
                </a:lnTo>
                <a:lnTo>
                  <a:pt x="3811" y="1510"/>
                </a:lnTo>
                <a:lnTo>
                  <a:pt x="3801" y="1509"/>
                </a:lnTo>
                <a:lnTo>
                  <a:pt x="3793" y="1507"/>
                </a:lnTo>
                <a:lnTo>
                  <a:pt x="3783" y="1504"/>
                </a:lnTo>
                <a:lnTo>
                  <a:pt x="3776" y="1500"/>
                </a:lnTo>
                <a:lnTo>
                  <a:pt x="3767" y="1495"/>
                </a:lnTo>
                <a:lnTo>
                  <a:pt x="3760" y="1489"/>
                </a:lnTo>
                <a:lnTo>
                  <a:pt x="3753" y="1483"/>
                </a:lnTo>
                <a:lnTo>
                  <a:pt x="3748" y="1476"/>
                </a:lnTo>
                <a:lnTo>
                  <a:pt x="3742" y="1470"/>
                </a:lnTo>
                <a:lnTo>
                  <a:pt x="3737" y="1463"/>
                </a:lnTo>
                <a:lnTo>
                  <a:pt x="3734" y="1454"/>
                </a:lnTo>
                <a:lnTo>
                  <a:pt x="3730" y="1446"/>
                </a:lnTo>
                <a:lnTo>
                  <a:pt x="3728" y="1436"/>
                </a:lnTo>
                <a:lnTo>
                  <a:pt x="3727" y="1428"/>
                </a:lnTo>
                <a:lnTo>
                  <a:pt x="3726" y="1418"/>
                </a:lnTo>
                <a:close/>
                <a:moveTo>
                  <a:pt x="3726" y="2661"/>
                </a:moveTo>
                <a:lnTo>
                  <a:pt x="3726" y="2661"/>
                </a:lnTo>
                <a:lnTo>
                  <a:pt x="3727" y="2652"/>
                </a:lnTo>
                <a:lnTo>
                  <a:pt x="3728" y="2642"/>
                </a:lnTo>
                <a:lnTo>
                  <a:pt x="3730" y="2633"/>
                </a:lnTo>
                <a:lnTo>
                  <a:pt x="3734" y="2625"/>
                </a:lnTo>
                <a:lnTo>
                  <a:pt x="3737" y="2617"/>
                </a:lnTo>
                <a:lnTo>
                  <a:pt x="3742" y="2608"/>
                </a:lnTo>
                <a:lnTo>
                  <a:pt x="3748" y="2601"/>
                </a:lnTo>
                <a:lnTo>
                  <a:pt x="3753" y="2594"/>
                </a:lnTo>
                <a:lnTo>
                  <a:pt x="3760" y="2589"/>
                </a:lnTo>
                <a:lnTo>
                  <a:pt x="3767" y="2583"/>
                </a:lnTo>
                <a:lnTo>
                  <a:pt x="3776" y="2579"/>
                </a:lnTo>
                <a:lnTo>
                  <a:pt x="3783" y="2575"/>
                </a:lnTo>
                <a:lnTo>
                  <a:pt x="3793" y="2572"/>
                </a:lnTo>
                <a:lnTo>
                  <a:pt x="3801" y="2569"/>
                </a:lnTo>
                <a:lnTo>
                  <a:pt x="3811" y="2568"/>
                </a:lnTo>
                <a:lnTo>
                  <a:pt x="3820" y="2568"/>
                </a:lnTo>
                <a:lnTo>
                  <a:pt x="3829" y="2568"/>
                </a:lnTo>
                <a:lnTo>
                  <a:pt x="3839" y="2569"/>
                </a:lnTo>
                <a:lnTo>
                  <a:pt x="3847" y="2572"/>
                </a:lnTo>
                <a:lnTo>
                  <a:pt x="3857" y="2575"/>
                </a:lnTo>
                <a:lnTo>
                  <a:pt x="3865" y="2579"/>
                </a:lnTo>
                <a:lnTo>
                  <a:pt x="3872" y="2583"/>
                </a:lnTo>
                <a:lnTo>
                  <a:pt x="3879" y="2589"/>
                </a:lnTo>
                <a:lnTo>
                  <a:pt x="3886" y="2594"/>
                </a:lnTo>
                <a:lnTo>
                  <a:pt x="3892" y="2601"/>
                </a:lnTo>
                <a:lnTo>
                  <a:pt x="3897" y="2608"/>
                </a:lnTo>
                <a:lnTo>
                  <a:pt x="3903" y="2617"/>
                </a:lnTo>
                <a:lnTo>
                  <a:pt x="3906" y="2625"/>
                </a:lnTo>
                <a:lnTo>
                  <a:pt x="3910" y="2633"/>
                </a:lnTo>
                <a:lnTo>
                  <a:pt x="3911" y="2642"/>
                </a:lnTo>
                <a:lnTo>
                  <a:pt x="3913" y="2652"/>
                </a:lnTo>
                <a:lnTo>
                  <a:pt x="3914" y="2661"/>
                </a:lnTo>
                <a:lnTo>
                  <a:pt x="3913" y="2671"/>
                </a:lnTo>
                <a:lnTo>
                  <a:pt x="3911" y="2679"/>
                </a:lnTo>
                <a:lnTo>
                  <a:pt x="3910" y="2689"/>
                </a:lnTo>
                <a:lnTo>
                  <a:pt x="3906" y="2698"/>
                </a:lnTo>
                <a:lnTo>
                  <a:pt x="3903" y="2706"/>
                </a:lnTo>
                <a:lnTo>
                  <a:pt x="3897" y="2713"/>
                </a:lnTo>
                <a:lnTo>
                  <a:pt x="3892" y="2720"/>
                </a:lnTo>
                <a:lnTo>
                  <a:pt x="3886" y="2727"/>
                </a:lnTo>
                <a:lnTo>
                  <a:pt x="3879" y="2734"/>
                </a:lnTo>
                <a:lnTo>
                  <a:pt x="3872" y="2738"/>
                </a:lnTo>
                <a:lnTo>
                  <a:pt x="3865" y="2744"/>
                </a:lnTo>
                <a:lnTo>
                  <a:pt x="3857" y="2748"/>
                </a:lnTo>
                <a:lnTo>
                  <a:pt x="3847" y="2751"/>
                </a:lnTo>
                <a:lnTo>
                  <a:pt x="3839" y="2753"/>
                </a:lnTo>
                <a:lnTo>
                  <a:pt x="3829" y="2755"/>
                </a:lnTo>
                <a:lnTo>
                  <a:pt x="3820" y="2755"/>
                </a:lnTo>
                <a:lnTo>
                  <a:pt x="3811" y="2755"/>
                </a:lnTo>
                <a:lnTo>
                  <a:pt x="3801" y="2753"/>
                </a:lnTo>
                <a:lnTo>
                  <a:pt x="3793" y="2751"/>
                </a:lnTo>
                <a:lnTo>
                  <a:pt x="3783" y="2748"/>
                </a:lnTo>
                <a:lnTo>
                  <a:pt x="3776" y="2744"/>
                </a:lnTo>
                <a:lnTo>
                  <a:pt x="3767" y="2738"/>
                </a:lnTo>
                <a:lnTo>
                  <a:pt x="3760" y="2734"/>
                </a:lnTo>
                <a:lnTo>
                  <a:pt x="3753" y="2727"/>
                </a:lnTo>
                <a:lnTo>
                  <a:pt x="3748" y="2720"/>
                </a:lnTo>
                <a:lnTo>
                  <a:pt x="3742" y="2713"/>
                </a:lnTo>
                <a:lnTo>
                  <a:pt x="3737" y="2706"/>
                </a:lnTo>
                <a:lnTo>
                  <a:pt x="3734" y="2698"/>
                </a:lnTo>
                <a:lnTo>
                  <a:pt x="3730" y="2689"/>
                </a:lnTo>
                <a:lnTo>
                  <a:pt x="3728" y="2679"/>
                </a:lnTo>
                <a:lnTo>
                  <a:pt x="3727" y="2671"/>
                </a:lnTo>
                <a:lnTo>
                  <a:pt x="3726" y="2661"/>
                </a:lnTo>
                <a:close/>
                <a:moveTo>
                  <a:pt x="3726" y="2973"/>
                </a:moveTo>
                <a:lnTo>
                  <a:pt x="3726" y="2973"/>
                </a:lnTo>
                <a:lnTo>
                  <a:pt x="3727" y="2963"/>
                </a:lnTo>
                <a:lnTo>
                  <a:pt x="3728" y="2953"/>
                </a:lnTo>
                <a:lnTo>
                  <a:pt x="3730" y="2945"/>
                </a:lnTo>
                <a:lnTo>
                  <a:pt x="3734" y="2935"/>
                </a:lnTo>
                <a:lnTo>
                  <a:pt x="3737" y="2928"/>
                </a:lnTo>
                <a:lnTo>
                  <a:pt x="3742" y="2919"/>
                </a:lnTo>
                <a:lnTo>
                  <a:pt x="3748" y="2913"/>
                </a:lnTo>
                <a:lnTo>
                  <a:pt x="3753" y="2906"/>
                </a:lnTo>
                <a:lnTo>
                  <a:pt x="3760" y="2900"/>
                </a:lnTo>
                <a:lnTo>
                  <a:pt x="3767" y="2894"/>
                </a:lnTo>
                <a:lnTo>
                  <a:pt x="3776" y="2890"/>
                </a:lnTo>
                <a:lnTo>
                  <a:pt x="3783" y="2886"/>
                </a:lnTo>
                <a:lnTo>
                  <a:pt x="3793" y="2882"/>
                </a:lnTo>
                <a:lnTo>
                  <a:pt x="3801" y="2880"/>
                </a:lnTo>
                <a:lnTo>
                  <a:pt x="3811" y="2879"/>
                </a:lnTo>
                <a:lnTo>
                  <a:pt x="3820" y="2878"/>
                </a:lnTo>
                <a:lnTo>
                  <a:pt x="3829" y="2879"/>
                </a:lnTo>
                <a:lnTo>
                  <a:pt x="3839" y="2880"/>
                </a:lnTo>
                <a:lnTo>
                  <a:pt x="3847" y="2882"/>
                </a:lnTo>
                <a:lnTo>
                  <a:pt x="3857" y="2886"/>
                </a:lnTo>
                <a:lnTo>
                  <a:pt x="3865" y="2890"/>
                </a:lnTo>
                <a:lnTo>
                  <a:pt x="3872" y="2894"/>
                </a:lnTo>
                <a:lnTo>
                  <a:pt x="3879" y="2900"/>
                </a:lnTo>
                <a:lnTo>
                  <a:pt x="3886" y="2906"/>
                </a:lnTo>
                <a:lnTo>
                  <a:pt x="3892" y="2913"/>
                </a:lnTo>
                <a:lnTo>
                  <a:pt x="3897" y="2919"/>
                </a:lnTo>
                <a:lnTo>
                  <a:pt x="3903" y="2928"/>
                </a:lnTo>
                <a:lnTo>
                  <a:pt x="3906" y="2935"/>
                </a:lnTo>
                <a:lnTo>
                  <a:pt x="3910" y="2945"/>
                </a:lnTo>
                <a:lnTo>
                  <a:pt x="3911" y="2953"/>
                </a:lnTo>
                <a:lnTo>
                  <a:pt x="3913" y="2963"/>
                </a:lnTo>
                <a:lnTo>
                  <a:pt x="3914" y="2973"/>
                </a:lnTo>
                <a:lnTo>
                  <a:pt x="3913" y="2981"/>
                </a:lnTo>
                <a:lnTo>
                  <a:pt x="3911" y="2991"/>
                </a:lnTo>
                <a:lnTo>
                  <a:pt x="3910" y="3000"/>
                </a:lnTo>
                <a:lnTo>
                  <a:pt x="3906" y="3009"/>
                </a:lnTo>
                <a:lnTo>
                  <a:pt x="3903" y="3017"/>
                </a:lnTo>
                <a:lnTo>
                  <a:pt x="3897" y="3024"/>
                </a:lnTo>
                <a:lnTo>
                  <a:pt x="3892" y="3031"/>
                </a:lnTo>
                <a:lnTo>
                  <a:pt x="3886" y="3038"/>
                </a:lnTo>
                <a:lnTo>
                  <a:pt x="3879" y="3044"/>
                </a:lnTo>
                <a:lnTo>
                  <a:pt x="3872" y="3049"/>
                </a:lnTo>
                <a:lnTo>
                  <a:pt x="3865" y="3055"/>
                </a:lnTo>
                <a:lnTo>
                  <a:pt x="3857" y="3058"/>
                </a:lnTo>
                <a:lnTo>
                  <a:pt x="3847" y="3062"/>
                </a:lnTo>
                <a:lnTo>
                  <a:pt x="3839" y="3063"/>
                </a:lnTo>
                <a:lnTo>
                  <a:pt x="3829" y="3065"/>
                </a:lnTo>
                <a:lnTo>
                  <a:pt x="3820" y="3066"/>
                </a:lnTo>
                <a:lnTo>
                  <a:pt x="3811" y="3065"/>
                </a:lnTo>
                <a:lnTo>
                  <a:pt x="3801" y="3063"/>
                </a:lnTo>
                <a:lnTo>
                  <a:pt x="3793" y="3062"/>
                </a:lnTo>
                <a:lnTo>
                  <a:pt x="3783" y="3058"/>
                </a:lnTo>
                <a:lnTo>
                  <a:pt x="3776" y="3055"/>
                </a:lnTo>
                <a:lnTo>
                  <a:pt x="3767" y="3049"/>
                </a:lnTo>
                <a:lnTo>
                  <a:pt x="3760" y="3044"/>
                </a:lnTo>
                <a:lnTo>
                  <a:pt x="3753" y="3038"/>
                </a:lnTo>
                <a:lnTo>
                  <a:pt x="3748" y="3031"/>
                </a:lnTo>
                <a:lnTo>
                  <a:pt x="3742" y="3024"/>
                </a:lnTo>
                <a:lnTo>
                  <a:pt x="3737" y="3017"/>
                </a:lnTo>
                <a:lnTo>
                  <a:pt x="3734" y="3009"/>
                </a:lnTo>
                <a:lnTo>
                  <a:pt x="3730" y="3000"/>
                </a:lnTo>
                <a:lnTo>
                  <a:pt x="3728" y="2991"/>
                </a:lnTo>
                <a:lnTo>
                  <a:pt x="3727" y="2981"/>
                </a:lnTo>
                <a:lnTo>
                  <a:pt x="3726" y="2973"/>
                </a:lnTo>
                <a:close/>
                <a:moveTo>
                  <a:pt x="3726" y="2350"/>
                </a:moveTo>
                <a:lnTo>
                  <a:pt x="3726" y="2350"/>
                </a:lnTo>
                <a:lnTo>
                  <a:pt x="3727" y="2340"/>
                </a:lnTo>
                <a:lnTo>
                  <a:pt x="3728" y="2331"/>
                </a:lnTo>
                <a:lnTo>
                  <a:pt x="3730" y="2322"/>
                </a:lnTo>
                <a:lnTo>
                  <a:pt x="3734" y="2314"/>
                </a:lnTo>
                <a:lnTo>
                  <a:pt x="3737" y="2305"/>
                </a:lnTo>
                <a:lnTo>
                  <a:pt x="3742" y="2297"/>
                </a:lnTo>
                <a:lnTo>
                  <a:pt x="3748" y="2290"/>
                </a:lnTo>
                <a:lnTo>
                  <a:pt x="3753" y="2285"/>
                </a:lnTo>
                <a:lnTo>
                  <a:pt x="3760" y="2278"/>
                </a:lnTo>
                <a:lnTo>
                  <a:pt x="3767" y="2272"/>
                </a:lnTo>
                <a:lnTo>
                  <a:pt x="3776" y="2268"/>
                </a:lnTo>
                <a:lnTo>
                  <a:pt x="3783" y="2264"/>
                </a:lnTo>
                <a:lnTo>
                  <a:pt x="3793" y="2261"/>
                </a:lnTo>
                <a:lnTo>
                  <a:pt x="3801" y="2258"/>
                </a:lnTo>
                <a:lnTo>
                  <a:pt x="3811" y="2257"/>
                </a:lnTo>
                <a:lnTo>
                  <a:pt x="3820" y="2257"/>
                </a:lnTo>
                <a:lnTo>
                  <a:pt x="3829" y="2257"/>
                </a:lnTo>
                <a:lnTo>
                  <a:pt x="3839" y="2258"/>
                </a:lnTo>
                <a:lnTo>
                  <a:pt x="3847" y="2261"/>
                </a:lnTo>
                <a:lnTo>
                  <a:pt x="3857" y="2264"/>
                </a:lnTo>
                <a:lnTo>
                  <a:pt x="3865" y="2268"/>
                </a:lnTo>
                <a:lnTo>
                  <a:pt x="3872" y="2272"/>
                </a:lnTo>
                <a:lnTo>
                  <a:pt x="3879" y="2278"/>
                </a:lnTo>
                <a:lnTo>
                  <a:pt x="3886" y="2285"/>
                </a:lnTo>
                <a:lnTo>
                  <a:pt x="3892" y="2290"/>
                </a:lnTo>
                <a:lnTo>
                  <a:pt x="3897" y="2297"/>
                </a:lnTo>
                <a:lnTo>
                  <a:pt x="3903" y="2305"/>
                </a:lnTo>
                <a:lnTo>
                  <a:pt x="3906" y="2314"/>
                </a:lnTo>
                <a:lnTo>
                  <a:pt x="3910" y="2322"/>
                </a:lnTo>
                <a:lnTo>
                  <a:pt x="3911" y="2331"/>
                </a:lnTo>
                <a:lnTo>
                  <a:pt x="3913" y="2340"/>
                </a:lnTo>
                <a:lnTo>
                  <a:pt x="3914" y="2350"/>
                </a:lnTo>
                <a:lnTo>
                  <a:pt x="3913" y="2360"/>
                </a:lnTo>
                <a:lnTo>
                  <a:pt x="3911" y="2370"/>
                </a:lnTo>
                <a:lnTo>
                  <a:pt x="3910" y="2378"/>
                </a:lnTo>
                <a:lnTo>
                  <a:pt x="3906" y="2386"/>
                </a:lnTo>
                <a:lnTo>
                  <a:pt x="3903" y="2395"/>
                </a:lnTo>
                <a:lnTo>
                  <a:pt x="3897" y="2403"/>
                </a:lnTo>
                <a:lnTo>
                  <a:pt x="3892" y="2410"/>
                </a:lnTo>
                <a:lnTo>
                  <a:pt x="3886" y="2416"/>
                </a:lnTo>
                <a:lnTo>
                  <a:pt x="3879" y="2423"/>
                </a:lnTo>
                <a:lnTo>
                  <a:pt x="3872" y="2428"/>
                </a:lnTo>
                <a:lnTo>
                  <a:pt x="3865" y="2432"/>
                </a:lnTo>
                <a:lnTo>
                  <a:pt x="3857" y="2437"/>
                </a:lnTo>
                <a:lnTo>
                  <a:pt x="3847" y="2439"/>
                </a:lnTo>
                <a:lnTo>
                  <a:pt x="3839" y="2442"/>
                </a:lnTo>
                <a:lnTo>
                  <a:pt x="3829" y="2444"/>
                </a:lnTo>
                <a:lnTo>
                  <a:pt x="3820" y="2444"/>
                </a:lnTo>
                <a:lnTo>
                  <a:pt x="3811" y="2444"/>
                </a:lnTo>
                <a:lnTo>
                  <a:pt x="3801" y="2442"/>
                </a:lnTo>
                <a:lnTo>
                  <a:pt x="3793" y="2439"/>
                </a:lnTo>
                <a:lnTo>
                  <a:pt x="3783" y="2437"/>
                </a:lnTo>
                <a:lnTo>
                  <a:pt x="3776" y="2432"/>
                </a:lnTo>
                <a:lnTo>
                  <a:pt x="3767" y="2428"/>
                </a:lnTo>
                <a:lnTo>
                  <a:pt x="3760" y="2423"/>
                </a:lnTo>
                <a:lnTo>
                  <a:pt x="3753" y="2416"/>
                </a:lnTo>
                <a:lnTo>
                  <a:pt x="3748" y="2410"/>
                </a:lnTo>
                <a:lnTo>
                  <a:pt x="3742" y="2403"/>
                </a:lnTo>
                <a:lnTo>
                  <a:pt x="3737" y="2395"/>
                </a:lnTo>
                <a:lnTo>
                  <a:pt x="3734" y="2386"/>
                </a:lnTo>
                <a:lnTo>
                  <a:pt x="3730" y="2378"/>
                </a:lnTo>
                <a:lnTo>
                  <a:pt x="3728" y="2370"/>
                </a:lnTo>
                <a:lnTo>
                  <a:pt x="3727" y="2360"/>
                </a:lnTo>
                <a:lnTo>
                  <a:pt x="3726" y="2350"/>
                </a:lnTo>
                <a:close/>
                <a:moveTo>
                  <a:pt x="3726" y="2039"/>
                </a:moveTo>
                <a:lnTo>
                  <a:pt x="3726" y="2039"/>
                </a:lnTo>
                <a:lnTo>
                  <a:pt x="3727" y="2029"/>
                </a:lnTo>
                <a:lnTo>
                  <a:pt x="3728" y="2021"/>
                </a:lnTo>
                <a:lnTo>
                  <a:pt x="3730" y="2011"/>
                </a:lnTo>
                <a:lnTo>
                  <a:pt x="3734" y="2003"/>
                </a:lnTo>
                <a:lnTo>
                  <a:pt x="3737" y="1994"/>
                </a:lnTo>
                <a:lnTo>
                  <a:pt x="3742" y="1987"/>
                </a:lnTo>
                <a:lnTo>
                  <a:pt x="3748" y="1979"/>
                </a:lnTo>
                <a:lnTo>
                  <a:pt x="3753" y="1973"/>
                </a:lnTo>
                <a:lnTo>
                  <a:pt x="3760" y="1966"/>
                </a:lnTo>
                <a:lnTo>
                  <a:pt x="3767" y="1962"/>
                </a:lnTo>
                <a:lnTo>
                  <a:pt x="3776" y="1957"/>
                </a:lnTo>
                <a:lnTo>
                  <a:pt x="3783" y="1952"/>
                </a:lnTo>
                <a:lnTo>
                  <a:pt x="3793" y="1950"/>
                </a:lnTo>
                <a:lnTo>
                  <a:pt x="3801" y="1947"/>
                </a:lnTo>
                <a:lnTo>
                  <a:pt x="3811" y="1945"/>
                </a:lnTo>
                <a:lnTo>
                  <a:pt x="3820" y="1945"/>
                </a:lnTo>
                <a:lnTo>
                  <a:pt x="3829" y="1945"/>
                </a:lnTo>
                <a:lnTo>
                  <a:pt x="3839" y="1947"/>
                </a:lnTo>
                <a:lnTo>
                  <a:pt x="3847" y="1950"/>
                </a:lnTo>
                <a:lnTo>
                  <a:pt x="3857" y="1952"/>
                </a:lnTo>
                <a:lnTo>
                  <a:pt x="3865" y="1957"/>
                </a:lnTo>
                <a:lnTo>
                  <a:pt x="3872" y="1962"/>
                </a:lnTo>
                <a:lnTo>
                  <a:pt x="3879" y="1966"/>
                </a:lnTo>
                <a:lnTo>
                  <a:pt x="3886" y="1973"/>
                </a:lnTo>
                <a:lnTo>
                  <a:pt x="3892" y="1979"/>
                </a:lnTo>
                <a:lnTo>
                  <a:pt x="3897" y="1987"/>
                </a:lnTo>
                <a:lnTo>
                  <a:pt x="3903" y="1994"/>
                </a:lnTo>
                <a:lnTo>
                  <a:pt x="3906" y="2003"/>
                </a:lnTo>
                <a:lnTo>
                  <a:pt x="3910" y="2011"/>
                </a:lnTo>
                <a:lnTo>
                  <a:pt x="3911" y="2021"/>
                </a:lnTo>
                <a:lnTo>
                  <a:pt x="3913" y="2029"/>
                </a:lnTo>
                <a:lnTo>
                  <a:pt x="3914" y="2039"/>
                </a:lnTo>
                <a:lnTo>
                  <a:pt x="3913" y="2049"/>
                </a:lnTo>
                <a:lnTo>
                  <a:pt x="3911" y="2058"/>
                </a:lnTo>
                <a:lnTo>
                  <a:pt x="3910" y="2067"/>
                </a:lnTo>
                <a:lnTo>
                  <a:pt x="3906" y="2075"/>
                </a:lnTo>
                <a:lnTo>
                  <a:pt x="3903" y="2084"/>
                </a:lnTo>
                <a:lnTo>
                  <a:pt x="3897" y="2092"/>
                </a:lnTo>
                <a:lnTo>
                  <a:pt x="3892" y="2099"/>
                </a:lnTo>
                <a:lnTo>
                  <a:pt x="3886" y="2106"/>
                </a:lnTo>
                <a:lnTo>
                  <a:pt x="3879" y="2111"/>
                </a:lnTo>
                <a:lnTo>
                  <a:pt x="3872" y="2117"/>
                </a:lnTo>
                <a:lnTo>
                  <a:pt x="3865" y="2121"/>
                </a:lnTo>
                <a:lnTo>
                  <a:pt x="3857" y="2125"/>
                </a:lnTo>
                <a:lnTo>
                  <a:pt x="3847" y="2128"/>
                </a:lnTo>
                <a:lnTo>
                  <a:pt x="3839" y="2131"/>
                </a:lnTo>
                <a:lnTo>
                  <a:pt x="3829" y="2132"/>
                </a:lnTo>
                <a:lnTo>
                  <a:pt x="3820" y="2132"/>
                </a:lnTo>
                <a:lnTo>
                  <a:pt x="3811" y="2132"/>
                </a:lnTo>
                <a:lnTo>
                  <a:pt x="3801" y="2131"/>
                </a:lnTo>
                <a:lnTo>
                  <a:pt x="3793" y="2128"/>
                </a:lnTo>
                <a:lnTo>
                  <a:pt x="3783" y="2125"/>
                </a:lnTo>
                <a:lnTo>
                  <a:pt x="3776" y="2121"/>
                </a:lnTo>
                <a:lnTo>
                  <a:pt x="3767" y="2117"/>
                </a:lnTo>
                <a:lnTo>
                  <a:pt x="3760" y="2111"/>
                </a:lnTo>
                <a:lnTo>
                  <a:pt x="3753" y="2106"/>
                </a:lnTo>
                <a:lnTo>
                  <a:pt x="3748" y="2099"/>
                </a:lnTo>
                <a:lnTo>
                  <a:pt x="3742" y="2092"/>
                </a:lnTo>
                <a:lnTo>
                  <a:pt x="3737" y="2084"/>
                </a:lnTo>
                <a:lnTo>
                  <a:pt x="3734" y="2075"/>
                </a:lnTo>
                <a:lnTo>
                  <a:pt x="3730" y="2067"/>
                </a:lnTo>
                <a:lnTo>
                  <a:pt x="3728" y="2058"/>
                </a:lnTo>
                <a:lnTo>
                  <a:pt x="3727" y="2049"/>
                </a:lnTo>
                <a:lnTo>
                  <a:pt x="3726" y="2039"/>
                </a:lnTo>
                <a:close/>
                <a:moveTo>
                  <a:pt x="3726" y="1728"/>
                </a:moveTo>
                <a:lnTo>
                  <a:pt x="3726" y="1728"/>
                </a:lnTo>
                <a:lnTo>
                  <a:pt x="3727" y="1719"/>
                </a:lnTo>
                <a:lnTo>
                  <a:pt x="3728" y="1710"/>
                </a:lnTo>
                <a:lnTo>
                  <a:pt x="3730" y="1700"/>
                </a:lnTo>
                <a:lnTo>
                  <a:pt x="3734" y="1691"/>
                </a:lnTo>
                <a:lnTo>
                  <a:pt x="3737" y="1683"/>
                </a:lnTo>
                <a:lnTo>
                  <a:pt x="3742" y="1676"/>
                </a:lnTo>
                <a:lnTo>
                  <a:pt x="3748" y="1669"/>
                </a:lnTo>
                <a:lnTo>
                  <a:pt x="3753" y="1662"/>
                </a:lnTo>
                <a:lnTo>
                  <a:pt x="3760" y="1657"/>
                </a:lnTo>
                <a:lnTo>
                  <a:pt x="3767" y="1651"/>
                </a:lnTo>
                <a:lnTo>
                  <a:pt x="3776" y="1645"/>
                </a:lnTo>
                <a:lnTo>
                  <a:pt x="3783" y="1643"/>
                </a:lnTo>
                <a:lnTo>
                  <a:pt x="3793" y="1638"/>
                </a:lnTo>
                <a:lnTo>
                  <a:pt x="3801" y="1637"/>
                </a:lnTo>
                <a:lnTo>
                  <a:pt x="3811" y="1636"/>
                </a:lnTo>
                <a:lnTo>
                  <a:pt x="3820" y="1634"/>
                </a:lnTo>
                <a:lnTo>
                  <a:pt x="3829" y="1636"/>
                </a:lnTo>
                <a:lnTo>
                  <a:pt x="3839" y="1637"/>
                </a:lnTo>
                <a:lnTo>
                  <a:pt x="3847" y="1638"/>
                </a:lnTo>
                <a:lnTo>
                  <a:pt x="3857" y="1643"/>
                </a:lnTo>
                <a:lnTo>
                  <a:pt x="3865" y="1645"/>
                </a:lnTo>
                <a:lnTo>
                  <a:pt x="3872" y="1651"/>
                </a:lnTo>
                <a:lnTo>
                  <a:pt x="3879" y="1657"/>
                </a:lnTo>
                <a:lnTo>
                  <a:pt x="3886" y="1662"/>
                </a:lnTo>
                <a:lnTo>
                  <a:pt x="3892" y="1669"/>
                </a:lnTo>
                <a:lnTo>
                  <a:pt x="3897" y="1676"/>
                </a:lnTo>
                <a:lnTo>
                  <a:pt x="3903" y="1683"/>
                </a:lnTo>
                <a:lnTo>
                  <a:pt x="3906" y="1691"/>
                </a:lnTo>
                <a:lnTo>
                  <a:pt x="3910" y="1700"/>
                </a:lnTo>
                <a:lnTo>
                  <a:pt x="3911" y="1710"/>
                </a:lnTo>
                <a:lnTo>
                  <a:pt x="3913" y="1719"/>
                </a:lnTo>
                <a:lnTo>
                  <a:pt x="3914" y="1728"/>
                </a:lnTo>
                <a:lnTo>
                  <a:pt x="3913" y="1737"/>
                </a:lnTo>
                <a:lnTo>
                  <a:pt x="3911" y="1747"/>
                </a:lnTo>
                <a:lnTo>
                  <a:pt x="3910" y="1756"/>
                </a:lnTo>
                <a:lnTo>
                  <a:pt x="3906" y="1765"/>
                </a:lnTo>
                <a:lnTo>
                  <a:pt x="3903" y="1772"/>
                </a:lnTo>
                <a:lnTo>
                  <a:pt x="3897" y="1781"/>
                </a:lnTo>
                <a:lnTo>
                  <a:pt x="3892" y="1788"/>
                </a:lnTo>
                <a:lnTo>
                  <a:pt x="3886" y="1795"/>
                </a:lnTo>
                <a:lnTo>
                  <a:pt x="3879" y="1800"/>
                </a:lnTo>
                <a:lnTo>
                  <a:pt x="3872" y="1806"/>
                </a:lnTo>
                <a:lnTo>
                  <a:pt x="3865" y="1810"/>
                </a:lnTo>
                <a:lnTo>
                  <a:pt x="3857" y="1814"/>
                </a:lnTo>
                <a:lnTo>
                  <a:pt x="3847" y="1818"/>
                </a:lnTo>
                <a:lnTo>
                  <a:pt x="3839" y="1820"/>
                </a:lnTo>
                <a:lnTo>
                  <a:pt x="3829" y="1821"/>
                </a:lnTo>
                <a:lnTo>
                  <a:pt x="3820" y="1823"/>
                </a:lnTo>
                <a:lnTo>
                  <a:pt x="3811" y="1821"/>
                </a:lnTo>
                <a:lnTo>
                  <a:pt x="3801" y="1820"/>
                </a:lnTo>
                <a:lnTo>
                  <a:pt x="3793" y="1818"/>
                </a:lnTo>
                <a:lnTo>
                  <a:pt x="3783" y="1814"/>
                </a:lnTo>
                <a:lnTo>
                  <a:pt x="3776" y="1810"/>
                </a:lnTo>
                <a:lnTo>
                  <a:pt x="3767" y="1806"/>
                </a:lnTo>
                <a:lnTo>
                  <a:pt x="3760" y="1800"/>
                </a:lnTo>
                <a:lnTo>
                  <a:pt x="3753" y="1795"/>
                </a:lnTo>
                <a:lnTo>
                  <a:pt x="3748" y="1788"/>
                </a:lnTo>
                <a:lnTo>
                  <a:pt x="3742" y="1781"/>
                </a:lnTo>
                <a:lnTo>
                  <a:pt x="3737" y="1772"/>
                </a:lnTo>
                <a:lnTo>
                  <a:pt x="3734" y="1765"/>
                </a:lnTo>
                <a:lnTo>
                  <a:pt x="3730" y="1756"/>
                </a:lnTo>
                <a:lnTo>
                  <a:pt x="3728" y="1747"/>
                </a:lnTo>
                <a:lnTo>
                  <a:pt x="3727" y="1737"/>
                </a:lnTo>
                <a:lnTo>
                  <a:pt x="3726" y="1728"/>
                </a:lnTo>
                <a:close/>
                <a:moveTo>
                  <a:pt x="1529" y="3594"/>
                </a:moveTo>
                <a:lnTo>
                  <a:pt x="1529" y="3594"/>
                </a:lnTo>
                <a:lnTo>
                  <a:pt x="1529" y="3584"/>
                </a:lnTo>
                <a:lnTo>
                  <a:pt x="1531" y="3575"/>
                </a:lnTo>
                <a:lnTo>
                  <a:pt x="1533" y="3566"/>
                </a:lnTo>
                <a:lnTo>
                  <a:pt x="1536" y="3557"/>
                </a:lnTo>
                <a:lnTo>
                  <a:pt x="1540" y="3549"/>
                </a:lnTo>
                <a:lnTo>
                  <a:pt x="1545" y="3542"/>
                </a:lnTo>
                <a:lnTo>
                  <a:pt x="1550" y="3534"/>
                </a:lnTo>
                <a:lnTo>
                  <a:pt x="1556" y="3528"/>
                </a:lnTo>
                <a:lnTo>
                  <a:pt x="1563" y="3521"/>
                </a:lnTo>
                <a:lnTo>
                  <a:pt x="1570" y="3515"/>
                </a:lnTo>
                <a:lnTo>
                  <a:pt x="1578" y="3511"/>
                </a:lnTo>
                <a:lnTo>
                  <a:pt x="1586" y="3507"/>
                </a:lnTo>
                <a:lnTo>
                  <a:pt x="1595" y="3504"/>
                </a:lnTo>
                <a:lnTo>
                  <a:pt x="1603" y="3501"/>
                </a:lnTo>
                <a:lnTo>
                  <a:pt x="1613" y="3500"/>
                </a:lnTo>
                <a:lnTo>
                  <a:pt x="1623" y="3500"/>
                </a:lnTo>
                <a:lnTo>
                  <a:pt x="1633" y="3500"/>
                </a:lnTo>
                <a:lnTo>
                  <a:pt x="1641" y="3501"/>
                </a:lnTo>
                <a:lnTo>
                  <a:pt x="1651" y="3504"/>
                </a:lnTo>
                <a:lnTo>
                  <a:pt x="1659" y="3507"/>
                </a:lnTo>
                <a:lnTo>
                  <a:pt x="1667" y="3511"/>
                </a:lnTo>
                <a:lnTo>
                  <a:pt x="1674" y="3515"/>
                </a:lnTo>
                <a:lnTo>
                  <a:pt x="1681" y="3521"/>
                </a:lnTo>
                <a:lnTo>
                  <a:pt x="1688" y="3528"/>
                </a:lnTo>
                <a:lnTo>
                  <a:pt x="1694" y="3534"/>
                </a:lnTo>
                <a:lnTo>
                  <a:pt x="1700" y="3542"/>
                </a:lnTo>
                <a:lnTo>
                  <a:pt x="1705" y="3549"/>
                </a:lnTo>
                <a:lnTo>
                  <a:pt x="1709" y="3557"/>
                </a:lnTo>
                <a:lnTo>
                  <a:pt x="1712" y="3566"/>
                </a:lnTo>
                <a:lnTo>
                  <a:pt x="1713" y="3575"/>
                </a:lnTo>
                <a:lnTo>
                  <a:pt x="1715" y="3584"/>
                </a:lnTo>
                <a:lnTo>
                  <a:pt x="1716" y="3594"/>
                </a:lnTo>
                <a:lnTo>
                  <a:pt x="1715" y="3603"/>
                </a:lnTo>
                <a:lnTo>
                  <a:pt x="1713" y="3613"/>
                </a:lnTo>
                <a:lnTo>
                  <a:pt x="1712" y="3621"/>
                </a:lnTo>
                <a:lnTo>
                  <a:pt x="1709" y="3630"/>
                </a:lnTo>
                <a:lnTo>
                  <a:pt x="1705" y="3638"/>
                </a:lnTo>
                <a:lnTo>
                  <a:pt x="1700" y="3647"/>
                </a:lnTo>
                <a:lnTo>
                  <a:pt x="1694" y="3654"/>
                </a:lnTo>
                <a:lnTo>
                  <a:pt x="1688" y="3661"/>
                </a:lnTo>
                <a:lnTo>
                  <a:pt x="1681" y="3666"/>
                </a:lnTo>
                <a:lnTo>
                  <a:pt x="1674" y="3672"/>
                </a:lnTo>
                <a:lnTo>
                  <a:pt x="1667" y="3676"/>
                </a:lnTo>
                <a:lnTo>
                  <a:pt x="1659" y="3680"/>
                </a:lnTo>
                <a:lnTo>
                  <a:pt x="1651" y="3683"/>
                </a:lnTo>
                <a:lnTo>
                  <a:pt x="1641" y="3686"/>
                </a:lnTo>
                <a:lnTo>
                  <a:pt x="1633" y="3687"/>
                </a:lnTo>
                <a:lnTo>
                  <a:pt x="1623" y="3687"/>
                </a:lnTo>
                <a:lnTo>
                  <a:pt x="1613" y="3687"/>
                </a:lnTo>
                <a:lnTo>
                  <a:pt x="1603" y="3686"/>
                </a:lnTo>
                <a:lnTo>
                  <a:pt x="1595" y="3683"/>
                </a:lnTo>
                <a:lnTo>
                  <a:pt x="1586" y="3680"/>
                </a:lnTo>
                <a:lnTo>
                  <a:pt x="1578" y="3676"/>
                </a:lnTo>
                <a:lnTo>
                  <a:pt x="1570" y="3672"/>
                </a:lnTo>
                <a:lnTo>
                  <a:pt x="1563" y="3666"/>
                </a:lnTo>
                <a:lnTo>
                  <a:pt x="1556" y="3661"/>
                </a:lnTo>
                <a:lnTo>
                  <a:pt x="1550" y="3654"/>
                </a:lnTo>
                <a:lnTo>
                  <a:pt x="1545" y="3647"/>
                </a:lnTo>
                <a:lnTo>
                  <a:pt x="1540" y="3638"/>
                </a:lnTo>
                <a:lnTo>
                  <a:pt x="1536" y="3630"/>
                </a:lnTo>
                <a:lnTo>
                  <a:pt x="1533" y="3621"/>
                </a:lnTo>
                <a:lnTo>
                  <a:pt x="1531" y="3613"/>
                </a:lnTo>
                <a:lnTo>
                  <a:pt x="1529" y="3603"/>
                </a:lnTo>
                <a:lnTo>
                  <a:pt x="1529" y="3594"/>
                </a:lnTo>
                <a:close/>
                <a:moveTo>
                  <a:pt x="3202" y="1530"/>
                </a:moveTo>
                <a:lnTo>
                  <a:pt x="3202" y="1531"/>
                </a:lnTo>
                <a:lnTo>
                  <a:pt x="2800" y="1530"/>
                </a:lnTo>
                <a:lnTo>
                  <a:pt x="2799" y="1523"/>
                </a:lnTo>
                <a:lnTo>
                  <a:pt x="2799" y="1509"/>
                </a:lnTo>
                <a:lnTo>
                  <a:pt x="2799" y="1471"/>
                </a:lnTo>
                <a:lnTo>
                  <a:pt x="2800" y="1418"/>
                </a:lnTo>
                <a:lnTo>
                  <a:pt x="3206" y="1418"/>
                </a:lnTo>
                <a:lnTo>
                  <a:pt x="3206" y="1530"/>
                </a:lnTo>
                <a:lnTo>
                  <a:pt x="3202" y="1530"/>
                </a:lnTo>
                <a:close/>
                <a:moveTo>
                  <a:pt x="3726" y="3282"/>
                </a:moveTo>
                <a:lnTo>
                  <a:pt x="3726" y="3282"/>
                </a:lnTo>
                <a:lnTo>
                  <a:pt x="3727" y="3273"/>
                </a:lnTo>
                <a:lnTo>
                  <a:pt x="3728" y="3264"/>
                </a:lnTo>
                <a:lnTo>
                  <a:pt x="3730" y="3254"/>
                </a:lnTo>
                <a:lnTo>
                  <a:pt x="3734" y="3246"/>
                </a:lnTo>
                <a:lnTo>
                  <a:pt x="3737" y="3238"/>
                </a:lnTo>
                <a:lnTo>
                  <a:pt x="3742" y="3231"/>
                </a:lnTo>
                <a:lnTo>
                  <a:pt x="3748" y="3224"/>
                </a:lnTo>
                <a:lnTo>
                  <a:pt x="3753" y="3217"/>
                </a:lnTo>
                <a:lnTo>
                  <a:pt x="3760" y="3211"/>
                </a:lnTo>
                <a:lnTo>
                  <a:pt x="3767" y="3206"/>
                </a:lnTo>
                <a:lnTo>
                  <a:pt x="3776" y="3200"/>
                </a:lnTo>
                <a:lnTo>
                  <a:pt x="3783" y="3196"/>
                </a:lnTo>
                <a:lnTo>
                  <a:pt x="3793" y="3193"/>
                </a:lnTo>
                <a:lnTo>
                  <a:pt x="3801" y="3192"/>
                </a:lnTo>
                <a:lnTo>
                  <a:pt x="3811" y="3190"/>
                </a:lnTo>
                <a:lnTo>
                  <a:pt x="3820" y="3189"/>
                </a:lnTo>
                <a:lnTo>
                  <a:pt x="3829" y="3190"/>
                </a:lnTo>
                <a:lnTo>
                  <a:pt x="3839" y="3192"/>
                </a:lnTo>
                <a:lnTo>
                  <a:pt x="3847" y="3193"/>
                </a:lnTo>
                <a:lnTo>
                  <a:pt x="3857" y="3196"/>
                </a:lnTo>
                <a:lnTo>
                  <a:pt x="3865" y="3200"/>
                </a:lnTo>
                <a:lnTo>
                  <a:pt x="3872" y="3206"/>
                </a:lnTo>
                <a:lnTo>
                  <a:pt x="3879" y="3211"/>
                </a:lnTo>
                <a:lnTo>
                  <a:pt x="3886" y="3217"/>
                </a:lnTo>
                <a:lnTo>
                  <a:pt x="3892" y="3224"/>
                </a:lnTo>
                <a:lnTo>
                  <a:pt x="3897" y="3231"/>
                </a:lnTo>
                <a:lnTo>
                  <a:pt x="3903" y="3238"/>
                </a:lnTo>
                <a:lnTo>
                  <a:pt x="3906" y="3246"/>
                </a:lnTo>
                <a:lnTo>
                  <a:pt x="3910" y="3254"/>
                </a:lnTo>
                <a:lnTo>
                  <a:pt x="3911" y="3264"/>
                </a:lnTo>
                <a:lnTo>
                  <a:pt x="3913" y="3273"/>
                </a:lnTo>
                <a:lnTo>
                  <a:pt x="3914" y="3282"/>
                </a:lnTo>
                <a:lnTo>
                  <a:pt x="3913" y="3292"/>
                </a:lnTo>
                <a:lnTo>
                  <a:pt x="3911" y="3302"/>
                </a:lnTo>
                <a:lnTo>
                  <a:pt x="3910" y="3310"/>
                </a:lnTo>
                <a:lnTo>
                  <a:pt x="3906" y="3319"/>
                </a:lnTo>
                <a:lnTo>
                  <a:pt x="3903" y="3327"/>
                </a:lnTo>
                <a:lnTo>
                  <a:pt x="3897" y="3335"/>
                </a:lnTo>
                <a:lnTo>
                  <a:pt x="3892" y="3342"/>
                </a:lnTo>
                <a:lnTo>
                  <a:pt x="3886" y="3349"/>
                </a:lnTo>
                <a:lnTo>
                  <a:pt x="3879" y="3355"/>
                </a:lnTo>
                <a:lnTo>
                  <a:pt x="3872" y="3360"/>
                </a:lnTo>
                <a:lnTo>
                  <a:pt x="3865" y="3365"/>
                </a:lnTo>
                <a:lnTo>
                  <a:pt x="3857" y="3369"/>
                </a:lnTo>
                <a:lnTo>
                  <a:pt x="3847" y="3372"/>
                </a:lnTo>
                <a:lnTo>
                  <a:pt x="3839" y="3374"/>
                </a:lnTo>
                <a:lnTo>
                  <a:pt x="3829" y="3376"/>
                </a:lnTo>
                <a:lnTo>
                  <a:pt x="3820" y="3376"/>
                </a:lnTo>
                <a:lnTo>
                  <a:pt x="3811" y="3376"/>
                </a:lnTo>
                <a:lnTo>
                  <a:pt x="3801" y="3374"/>
                </a:lnTo>
                <a:lnTo>
                  <a:pt x="3793" y="3372"/>
                </a:lnTo>
                <a:lnTo>
                  <a:pt x="3783" y="3369"/>
                </a:lnTo>
                <a:lnTo>
                  <a:pt x="3776" y="3365"/>
                </a:lnTo>
                <a:lnTo>
                  <a:pt x="3767" y="3360"/>
                </a:lnTo>
                <a:lnTo>
                  <a:pt x="3760" y="3355"/>
                </a:lnTo>
                <a:lnTo>
                  <a:pt x="3753" y="3349"/>
                </a:lnTo>
                <a:lnTo>
                  <a:pt x="3748" y="3342"/>
                </a:lnTo>
                <a:lnTo>
                  <a:pt x="3742" y="3335"/>
                </a:lnTo>
                <a:lnTo>
                  <a:pt x="3737" y="3327"/>
                </a:lnTo>
                <a:lnTo>
                  <a:pt x="3734" y="3319"/>
                </a:lnTo>
                <a:lnTo>
                  <a:pt x="3730" y="3310"/>
                </a:lnTo>
                <a:lnTo>
                  <a:pt x="3728" y="3302"/>
                </a:lnTo>
                <a:lnTo>
                  <a:pt x="3727" y="3292"/>
                </a:lnTo>
                <a:lnTo>
                  <a:pt x="3726" y="3282"/>
                </a:lnTo>
                <a:close/>
                <a:moveTo>
                  <a:pt x="3726" y="3594"/>
                </a:moveTo>
                <a:lnTo>
                  <a:pt x="3726" y="3594"/>
                </a:lnTo>
                <a:lnTo>
                  <a:pt x="3727" y="3584"/>
                </a:lnTo>
                <a:lnTo>
                  <a:pt x="3728" y="3575"/>
                </a:lnTo>
                <a:lnTo>
                  <a:pt x="3730" y="3566"/>
                </a:lnTo>
                <a:lnTo>
                  <a:pt x="3734" y="3557"/>
                </a:lnTo>
                <a:lnTo>
                  <a:pt x="3737" y="3549"/>
                </a:lnTo>
                <a:lnTo>
                  <a:pt x="3742" y="3542"/>
                </a:lnTo>
                <a:lnTo>
                  <a:pt x="3748" y="3534"/>
                </a:lnTo>
                <a:lnTo>
                  <a:pt x="3753" y="3528"/>
                </a:lnTo>
                <a:lnTo>
                  <a:pt x="3760" y="3521"/>
                </a:lnTo>
                <a:lnTo>
                  <a:pt x="3767" y="3515"/>
                </a:lnTo>
                <a:lnTo>
                  <a:pt x="3776" y="3511"/>
                </a:lnTo>
                <a:lnTo>
                  <a:pt x="3783" y="3507"/>
                </a:lnTo>
                <a:lnTo>
                  <a:pt x="3793" y="3504"/>
                </a:lnTo>
                <a:lnTo>
                  <a:pt x="3801" y="3501"/>
                </a:lnTo>
                <a:lnTo>
                  <a:pt x="3811" y="3500"/>
                </a:lnTo>
                <a:lnTo>
                  <a:pt x="3820" y="3500"/>
                </a:lnTo>
                <a:lnTo>
                  <a:pt x="3829" y="3500"/>
                </a:lnTo>
                <a:lnTo>
                  <a:pt x="3839" y="3501"/>
                </a:lnTo>
                <a:lnTo>
                  <a:pt x="3847" y="3504"/>
                </a:lnTo>
                <a:lnTo>
                  <a:pt x="3857" y="3507"/>
                </a:lnTo>
                <a:lnTo>
                  <a:pt x="3865" y="3511"/>
                </a:lnTo>
                <a:lnTo>
                  <a:pt x="3872" y="3515"/>
                </a:lnTo>
                <a:lnTo>
                  <a:pt x="3879" y="3521"/>
                </a:lnTo>
                <a:lnTo>
                  <a:pt x="3886" y="3528"/>
                </a:lnTo>
                <a:lnTo>
                  <a:pt x="3892" y="3534"/>
                </a:lnTo>
                <a:lnTo>
                  <a:pt x="3897" y="3542"/>
                </a:lnTo>
                <a:lnTo>
                  <a:pt x="3903" y="3549"/>
                </a:lnTo>
                <a:lnTo>
                  <a:pt x="3906" y="3557"/>
                </a:lnTo>
                <a:lnTo>
                  <a:pt x="3910" y="3566"/>
                </a:lnTo>
                <a:lnTo>
                  <a:pt x="3911" y="3575"/>
                </a:lnTo>
                <a:lnTo>
                  <a:pt x="3913" y="3584"/>
                </a:lnTo>
                <a:lnTo>
                  <a:pt x="3914" y="3594"/>
                </a:lnTo>
                <a:lnTo>
                  <a:pt x="3913" y="3603"/>
                </a:lnTo>
                <a:lnTo>
                  <a:pt x="3911" y="3613"/>
                </a:lnTo>
                <a:lnTo>
                  <a:pt x="3910" y="3621"/>
                </a:lnTo>
                <a:lnTo>
                  <a:pt x="3906" y="3630"/>
                </a:lnTo>
                <a:lnTo>
                  <a:pt x="3903" y="3638"/>
                </a:lnTo>
                <a:lnTo>
                  <a:pt x="3897" y="3647"/>
                </a:lnTo>
                <a:lnTo>
                  <a:pt x="3892" y="3654"/>
                </a:lnTo>
                <a:lnTo>
                  <a:pt x="3886" y="3661"/>
                </a:lnTo>
                <a:lnTo>
                  <a:pt x="3879" y="3666"/>
                </a:lnTo>
                <a:lnTo>
                  <a:pt x="3872" y="3672"/>
                </a:lnTo>
                <a:lnTo>
                  <a:pt x="3865" y="3676"/>
                </a:lnTo>
                <a:lnTo>
                  <a:pt x="3857" y="3680"/>
                </a:lnTo>
                <a:lnTo>
                  <a:pt x="3847" y="3683"/>
                </a:lnTo>
                <a:lnTo>
                  <a:pt x="3839" y="3686"/>
                </a:lnTo>
                <a:lnTo>
                  <a:pt x="3829" y="3687"/>
                </a:lnTo>
                <a:lnTo>
                  <a:pt x="3820" y="3687"/>
                </a:lnTo>
                <a:lnTo>
                  <a:pt x="3811" y="3687"/>
                </a:lnTo>
                <a:lnTo>
                  <a:pt x="3801" y="3686"/>
                </a:lnTo>
                <a:lnTo>
                  <a:pt x="3793" y="3683"/>
                </a:lnTo>
                <a:lnTo>
                  <a:pt x="3783" y="3680"/>
                </a:lnTo>
                <a:lnTo>
                  <a:pt x="3776" y="3676"/>
                </a:lnTo>
                <a:lnTo>
                  <a:pt x="3767" y="3672"/>
                </a:lnTo>
                <a:lnTo>
                  <a:pt x="3760" y="3666"/>
                </a:lnTo>
                <a:lnTo>
                  <a:pt x="3753" y="3661"/>
                </a:lnTo>
                <a:lnTo>
                  <a:pt x="3748" y="3654"/>
                </a:lnTo>
                <a:lnTo>
                  <a:pt x="3742" y="3647"/>
                </a:lnTo>
                <a:lnTo>
                  <a:pt x="3737" y="3638"/>
                </a:lnTo>
                <a:lnTo>
                  <a:pt x="3734" y="3630"/>
                </a:lnTo>
                <a:lnTo>
                  <a:pt x="3730" y="3621"/>
                </a:lnTo>
                <a:lnTo>
                  <a:pt x="3728" y="3613"/>
                </a:lnTo>
                <a:lnTo>
                  <a:pt x="3727" y="3603"/>
                </a:lnTo>
                <a:lnTo>
                  <a:pt x="3726" y="3594"/>
                </a:lnTo>
                <a:close/>
                <a:moveTo>
                  <a:pt x="3726" y="3905"/>
                </a:moveTo>
                <a:lnTo>
                  <a:pt x="3726" y="3905"/>
                </a:lnTo>
                <a:lnTo>
                  <a:pt x="3727" y="3895"/>
                </a:lnTo>
                <a:lnTo>
                  <a:pt x="3728" y="3885"/>
                </a:lnTo>
                <a:lnTo>
                  <a:pt x="3730" y="3877"/>
                </a:lnTo>
                <a:lnTo>
                  <a:pt x="3734" y="3868"/>
                </a:lnTo>
                <a:lnTo>
                  <a:pt x="3737" y="3860"/>
                </a:lnTo>
                <a:lnTo>
                  <a:pt x="3742" y="3852"/>
                </a:lnTo>
                <a:lnTo>
                  <a:pt x="3748" y="3845"/>
                </a:lnTo>
                <a:lnTo>
                  <a:pt x="3753" y="3838"/>
                </a:lnTo>
                <a:lnTo>
                  <a:pt x="3760" y="3832"/>
                </a:lnTo>
                <a:lnTo>
                  <a:pt x="3767" y="3827"/>
                </a:lnTo>
                <a:lnTo>
                  <a:pt x="3776" y="3822"/>
                </a:lnTo>
                <a:lnTo>
                  <a:pt x="3783" y="3818"/>
                </a:lnTo>
                <a:lnTo>
                  <a:pt x="3793" y="3815"/>
                </a:lnTo>
                <a:lnTo>
                  <a:pt x="3801" y="3813"/>
                </a:lnTo>
                <a:lnTo>
                  <a:pt x="3811" y="3811"/>
                </a:lnTo>
                <a:lnTo>
                  <a:pt x="3820" y="3811"/>
                </a:lnTo>
                <a:lnTo>
                  <a:pt x="3829" y="3811"/>
                </a:lnTo>
                <a:lnTo>
                  <a:pt x="3839" y="3813"/>
                </a:lnTo>
                <a:lnTo>
                  <a:pt x="3847" y="3815"/>
                </a:lnTo>
                <a:lnTo>
                  <a:pt x="3857" y="3818"/>
                </a:lnTo>
                <a:lnTo>
                  <a:pt x="3865" y="3822"/>
                </a:lnTo>
                <a:lnTo>
                  <a:pt x="3872" y="3827"/>
                </a:lnTo>
                <a:lnTo>
                  <a:pt x="3879" y="3832"/>
                </a:lnTo>
                <a:lnTo>
                  <a:pt x="3886" y="3838"/>
                </a:lnTo>
                <a:lnTo>
                  <a:pt x="3892" y="3845"/>
                </a:lnTo>
                <a:lnTo>
                  <a:pt x="3897" y="3852"/>
                </a:lnTo>
                <a:lnTo>
                  <a:pt x="3903" y="3860"/>
                </a:lnTo>
                <a:lnTo>
                  <a:pt x="3906" y="3868"/>
                </a:lnTo>
                <a:lnTo>
                  <a:pt x="3910" y="3877"/>
                </a:lnTo>
                <a:lnTo>
                  <a:pt x="3911" y="3885"/>
                </a:lnTo>
                <a:lnTo>
                  <a:pt x="3913" y="3895"/>
                </a:lnTo>
                <a:lnTo>
                  <a:pt x="3914" y="3905"/>
                </a:lnTo>
                <a:lnTo>
                  <a:pt x="3913" y="3915"/>
                </a:lnTo>
                <a:lnTo>
                  <a:pt x="3911" y="3923"/>
                </a:lnTo>
                <a:lnTo>
                  <a:pt x="3910" y="3933"/>
                </a:lnTo>
                <a:lnTo>
                  <a:pt x="3906" y="3941"/>
                </a:lnTo>
                <a:lnTo>
                  <a:pt x="3903" y="3949"/>
                </a:lnTo>
                <a:lnTo>
                  <a:pt x="3897" y="3956"/>
                </a:lnTo>
                <a:lnTo>
                  <a:pt x="3892" y="3965"/>
                </a:lnTo>
                <a:lnTo>
                  <a:pt x="3886" y="3970"/>
                </a:lnTo>
                <a:lnTo>
                  <a:pt x="3879" y="3977"/>
                </a:lnTo>
                <a:lnTo>
                  <a:pt x="3872" y="3983"/>
                </a:lnTo>
                <a:lnTo>
                  <a:pt x="3865" y="3987"/>
                </a:lnTo>
                <a:lnTo>
                  <a:pt x="3857" y="3991"/>
                </a:lnTo>
                <a:lnTo>
                  <a:pt x="3847" y="3994"/>
                </a:lnTo>
                <a:lnTo>
                  <a:pt x="3839" y="3997"/>
                </a:lnTo>
                <a:lnTo>
                  <a:pt x="3829" y="3998"/>
                </a:lnTo>
                <a:lnTo>
                  <a:pt x="3820" y="3998"/>
                </a:lnTo>
                <a:lnTo>
                  <a:pt x="3811" y="3998"/>
                </a:lnTo>
                <a:lnTo>
                  <a:pt x="3801" y="3997"/>
                </a:lnTo>
                <a:lnTo>
                  <a:pt x="3793" y="3994"/>
                </a:lnTo>
                <a:lnTo>
                  <a:pt x="3783" y="3991"/>
                </a:lnTo>
                <a:lnTo>
                  <a:pt x="3776" y="3987"/>
                </a:lnTo>
                <a:lnTo>
                  <a:pt x="3767" y="3983"/>
                </a:lnTo>
                <a:lnTo>
                  <a:pt x="3760" y="3977"/>
                </a:lnTo>
                <a:lnTo>
                  <a:pt x="3753" y="3970"/>
                </a:lnTo>
                <a:lnTo>
                  <a:pt x="3748" y="3965"/>
                </a:lnTo>
                <a:lnTo>
                  <a:pt x="3742" y="3956"/>
                </a:lnTo>
                <a:lnTo>
                  <a:pt x="3737" y="3949"/>
                </a:lnTo>
                <a:lnTo>
                  <a:pt x="3734" y="3941"/>
                </a:lnTo>
                <a:lnTo>
                  <a:pt x="3730" y="3933"/>
                </a:lnTo>
                <a:lnTo>
                  <a:pt x="3728" y="3923"/>
                </a:lnTo>
                <a:lnTo>
                  <a:pt x="3727" y="3915"/>
                </a:lnTo>
                <a:lnTo>
                  <a:pt x="3726" y="3905"/>
                </a:lnTo>
                <a:close/>
                <a:moveTo>
                  <a:pt x="2318" y="2446"/>
                </a:moveTo>
                <a:lnTo>
                  <a:pt x="3162" y="2446"/>
                </a:lnTo>
                <a:lnTo>
                  <a:pt x="3162" y="2558"/>
                </a:lnTo>
                <a:lnTo>
                  <a:pt x="2245" y="2558"/>
                </a:lnTo>
                <a:lnTo>
                  <a:pt x="2318" y="2446"/>
                </a:lnTo>
                <a:close/>
                <a:moveTo>
                  <a:pt x="3437" y="1915"/>
                </a:moveTo>
                <a:lnTo>
                  <a:pt x="3437" y="2026"/>
                </a:lnTo>
                <a:lnTo>
                  <a:pt x="2676" y="2026"/>
                </a:lnTo>
                <a:lnTo>
                  <a:pt x="2763" y="1915"/>
                </a:lnTo>
                <a:lnTo>
                  <a:pt x="3437" y="1915"/>
                </a:lnTo>
                <a:close/>
                <a:moveTo>
                  <a:pt x="1136" y="0"/>
                </a:moveTo>
                <a:lnTo>
                  <a:pt x="3479" y="0"/>
                </a:lnTo>
                <a:lnTo>
                  <a:pt x="4306" y="828"/>
                </a:lnTo>
                <a:lnTo>
                  <a:pt x="4306" y="4390"/>
                </a:lnTo>
                <a:lnTo>
                  <a:pt x="3572" y="4390"/>
                </a:lnTo>
                <a:lnTo>
                  <a:pt x="3572" y="4763"/>
                </a:lnTo>
                <a:lnTo>
                  <a:pt x="3194" y="4561"/>
                </a:lnTo>
                <a:lnTo>
                  <a:pt x="2814" y="4763"/>
                </a:lnTo>
                <a:lnTo>
                  <a:pt x="2814" y="4390"/>
                </a:lnTo>
                <a:lnTo>
                  <a:pt x="1136" y="4390"/>
                </a:lnTo>
                <a:lnTo>
                  <a:pt x="1136" y="3667"/>
                </a:lnTo>
                <a:lnTo>
                  <a:pt x="978" y="3825"/>
                </a:lnTo>
                <a:lnTo>
                  <a:pt x="971" y="3832"/>
                </a:lnTo>
                <a:lnTo>
                  <a:pt x="964" y="3838"/>
                </a:lnTo>
                <a:lnTo>
                  <a:pt x="956" y="3842"/>
                </a:lnTo>
                <a:lnTo>
                  <a:pt x="949" y="3846"/>
                </a:lnTo>
                <a:lnTo>
                  <a:pt x="931" y="3852"/>
                </a:lnTo>
                <a:lnTo>
                  <a:pt x="922" y="3853"/>
                </a:lnTo>
                <a:lnTo>
                  <a:pt x="914" y="3853"/>
                </a:lnTo>
                <a:lnTo>
                  <a:pt x="904" y="3853"/>
                </a:lnTo>
                <a:lnTo>
                  <a:pt x="896" y="3852"/>
                </a:lnTo>
                <a:lnTo>
                  <a:pt x="887" y="3850"/>
                </a:lnTo>
                <a:lnTo>
                  <a:pt x="880" y="3848"/>
                </a:lnTo>
                <a:lnTo>
                  <a:pt x="872" y="3843"/>
                </a:lnTo>
                <a:lnTo>
                  <a:pt x="865" y="3839"/>
                </a:lnTo>
                <a:lnTo>
                  <a:pt x="860" y="3832"/>
                </a:lnTo>
                <a:lnTo>
                  <a:pt x="854" y="3825"/>
                </a:lnTo>
                <a:lnTo>
                  <a:pt x="0" y="2579"/>
                </a:lnTo>
                <a:lnTo>
                  <a:pt x="247" y="2332"/>
                </a:lnTo>
                <a:lnTo>
                  <a:pt x="1359" y="3433"/>
                </a:lnTo>
                <a:lnTo>
                  <a:pt x="1359" y="4167"/>
                </a:lnTo>
                <a:lnTo>
                  <a:pt x="2814" y="4167"/>
                </a:lnTo>
                <a:lnTo>
                  <a:pt x="2814" y="4008"/>
                </a:lnTo>
                <a:lnTo>
                  <a:pt x="2792" y="3977"/>
                </a:lnTo>
                <a:lnTo>
                  <a:pt x="2771" y="3944"/>
                </a:lnTo>
                <a:lnTo>
                  <a:pt x="2754" y="3909"/>
                </a:lnTo>
                <a:lnTo>
                  <a:pt x="2739" y="3873"/>
                </a:lnTo>
                <a:lnTo>
                  <a:pt x="2728" y="3834"/>
                </a:lnTo>
                <a:lnTo>
                  <a:pt x="2724" y="3815"/>
                </a:lnTo>
                <a:lnTo>
                  <a:pt x="2720" y="3794"/>
                </a:lnTo>
                <a:lnTo>
                  <a:pt x="2717" y="3775"/>
                </a:lnTo>
                <a:lnTo>
                  <a:pt x="2714" y="3755"/>
                </a:lnTo>
                <a:lnTo>
                  <a:pt x="2714" y="3734"/>
                </a:lnTo>
                <a:lnTo>
                  <a:pt x="2713" y="3714"/>
                </a:lnTo>
                <a:lnTo>
                  <a:pt x="2714" y="3688"/>
                </a:lnTo>
                <a:lnTo>
                  <a:pt x="2715" y="3665"/>
                </a:lnTo>
                <a:lnTo>
                  <a:pt x="2718" y="3641"/>
                </a:lnTo>
                <a:lnTo>
                  <a:pt x="2722" y="3617"/>
                </a:lnTo>
                <a:lnTo>
                  <a:pt x="2728" y="3594"/>
                </a:lnTo>
                <a:lnTo>
                  <a:pt x="2735" y="3571"/>
                </a:lnTo>
                <a:lnTo>
                  <a:pt x="2742" y="3549"/>
                </a:lnTo>
                <a:lnTo>
                  <a:pt x="2750" y="3527"/>
                </a:lnTo>
                <a:lnTo>
                  <a:pt x="2760" y="3506"/>
                </a:lnTo>
                <a:lnTo>
                  <a:pt x="2771" y="3485"/>
                </a:lnTo>
                <a:lnTo>
                  <a:pt x="2782" y="3464"/>
                </a:lnTo>
                <a:lnTo>
                  <a:pt x="2795" y="3444"/>
                </a:lnTo>
                <a:lnTo>
                  <a:pt x="2809" y="3426"/>
                </a:lnTo>
                <a:lnTo>
                  <a:pt x="2823" y="3408"/>
                </a:lnTo>
                <a:lnTo>
                  <a:pt x="2838" y="3390"/>
                </a:lnTo>
                <a:lnTo>
                  <a:pt x="2853" y="3373"/>
                </a:lnTo>
                <a:lnTo>
                  <a:pt x="2870" y="3358"/>
                </a:lnTo>
                <a:lnTo>
                  <a:pt x="2888" y="3342"/>
                </a:lnTo>
                <a:lnTo>
                  <a:pt x="2906" y="3328"/>
                </a:lnTo>
                <a:lnTo>
                  <a:pt x="2925" y="3314"/>
                </a:lnTo>
                <a:lnTo>
                  <a:pt x="2944" y="3302"/>
                </a:lnTo>
                <a:lnTo>
                  <a:pt x="2964" y="3291"/>
                </a:lnTo>
                <a:lnTo>
                  <a:pt x="2985" y="3281"/>
                </a:lnTo>
                <a:lnTo>
                  <a:pt x="3007" y="3271"/>
                </a:lnTo>
                <a:lnTo>
                  <a:pt x="3028" y="3261"/>
                </a:lnTo>
                <a:lnTo>
                  <a:pt x="3050" y="3254"/>
                </a:lnTo>
                <a:lnTo>
                  <a:pt x="3074" y="3247"/>
                </a:lnTo>
                <a:lnTo>
                  <a:pt x="3096" y="3243"/>
                </a:lnTo>
                <a:lnTo>
                  <a:pt x="3120" y="3239"/>
                </a:lnTo>
                <a:lnTo>
                  <a:pt x="3144" y="3235"/>
                </a:lnTo>
                <a:lnTo>
                  <a:pt x="3169" y="3233"/>
                </a:lnTo>
                <a:lnTo>
                  <a:pt x="3194" y="3233"/>
                </a:lnTo>
                <a:lnTo>
                  <a:pt x="3218" y="3233"/>
                </a:lnTo>
                <a:lnTo>
                  <a:pt x="3243" y="3235"/>
                </a:lnTo>
                <a:lnTo>
                  <a:pt x="3266" y="3239"/>
                </a:lnTo>
                <a:lnTo>
                  <a:pt x="3290" y="3243"/>
                </a:lnTo>
                <a:lnTo>
                  <a:pt x="3314" y="3247"/>
                </a:lnTo>
                <a:lnTo>
                  <a:pt x="3336" y="3254"/>
                </a:lnTo>
                <a:lnTo>
                  <a:pt x="3359" y="3261"/>
                </a:lnTo>
                <a:lnTo>
                  <a:pt x="3381" y="3271"/>
                </a:lnTo>
                <a:lnTo>
                  <a:pt x="3402" y="3281"/>
                </a:lnTo>
                <a:lnTo>
                  <a:pt x="3423" y="3291"/>
                </a:lnTo>
                <a:lnTo>
                  <a:pt x="3442" y="3302"/>
                </a:lnTo>
                <a:lnTo>
                  <a:pt x="3462" y="3314"/>
                </a:lnTo>
                <a:lnTo>
                  <a:pt x="3481" y="3328"/>
                </a:lnTo>
                <a:lnTo>
                  <a:pt x="3499" y="3342"/>
                </a:lnTo>
                <a:lnTo>
                  <a:pt x="3516" y="3358"/>
                </a:lnTo>
                <a:lnTo>
                  <a:pt x="3533" y="3373"/>
                </a:lnTo>
                <a:lnTo>
                  <a:pt x="3548" y="3390"/>
                </a:lnTo>
                <a:lnTo>
                  <a:pt x="3564" y="3408"/>
                </a:lnTo>
                <a:lnTo>
                  <a:pt x="3579" y="3426"/>
                </a:lnTo>
                <a:lnTo>
                  <a:pt x="3592" y="3444"/>
                </a:lnTo>
                <a:lnTo>
                  <a:pt x="3604" y="3464"/>
                </a:lnTo>
                <a:lnTo>
                  <a:pt x="3615" y="3485"/>
                </a:lnTo>
                <a:lnTo>
                  <a:pt x="3626" y="3506"/>
                </a:lnTo>
                <a:lnTo>
                  <a:pt x="3636" y="3527"/>
                </a:lnTo>
                <a:lnTo>
                  <a:pt x="3645" y="3549"/>
                </a:lnTo>
                <a:lnTo>
                  <a:pt x="3652" y="3571"/>
                </a:lnTo>
                <a:lnTo>
                  <a:pt x="3659" y="3594"/>
                </a:lnTo>
                <a:lnTo>
                  <a:pt x="3664" y="3617"/>
                </a:lnTo>
                <a:lnTo>
                  <a:pt x="3668" y="3641"/>
                </a:lnTo>
                <a:lnTo>
                  <a:pt x="3671" y="3665"/>
                </a:lnTo>
                <a:lnTo>
                  <a:pt x="3673" y="3688"/>
                </a:lnTo>
                <a:lnTo>
                  <a:pt x="3674" y="3714"/>
                </a:lnTo>
                <a:lnTo>
                  <a:pt x="3674" y="3734"/>
                </a:lnTo>
                <a:lnTo>
                  <a:pt x="3673" y="3755"/>
                </a:lnTo>
                <a:lnTo>
                  <a:pt x="3670" y="3775"/>
                </a:lnTo>
                <a:lnTo>
                  <a:pt x="3667" y="3794"/>
                </a:lnTo>
                <a:lnTo>
                  <a:pt x="3663" y="3815"/>
                </a:lnTo>
                <a:lnTo>
                  <a:pt x="3659" y="3834"/>
                </a:lnTo>
                <a:lnTo>
                  <a:pt x="3647" y="3873"/>
                </a:lnTo>
                <a:lnTo>
                  <a:pt x="3632" y="3909"/>
                </a:lnTo>
                <a:lnTo>
                  <a:pt x="3615" y="3944"/>
                </a:lnTo>
                <a:lnTo>
                  <a:pt x="3596" y="3977"/>
                </a:lnTo>
                <a:lnTo>
                  <a:pt x="3572" y="4008"/>
                </a:lnTo>
                <a:lnTo>
                  <a:pt x="3572" y="4167"/>
                </a:lnTo>
                <a:lnTo>
                  <a:pt x="4083" y="4167"/>
                </a:lnTo>
                <a:lnTo>
                  <a:pt x="4083" y="2931"/>
                </a:lnTo>
                <a:lnTo>
                  <a:pt x="4083" y="2573"/>
                </a:lnTo>
                <a:lnTo>
                  <a:pt x="4083" y="988"/>
                </a:lnTo>
                <a:lnTo>
                  <a:pt x="3326" y="988"/>
                </a:lnTo>
                <a:lnTo>
                  <a:pt x="3326" y="223"/>
                </a:lnTo>
                <a:lnTo>
                  <a:pt x="1359" y="223"/>
                </a:lnTo>
                <a:lnTo>
                  <a:pt x="1359" y="1387"/>
                </a:lnTo>
                <a:lnTo>
                  <a:pt x="1136" y="1511"/>
                </a:lnTo>
                <a:lnTo>
                  <a:pt x="1136" y="0"/>
                </a:lnTo>
                <a:close/>
                <a:moveTo>
                  <a:pt x="3438" y="275"/>
                </a:moveTo>
                <a:lnTo>
                  <a:pt x="3438" y="876"/>
                </a:lnTo>
                <a:lnTo>
                  <a:pt x="4039" y="876"/>
                </a:lnTo>
                <a:lnTo>
                  <a:pt x="3438" y="275"/>
                </a:lnTo>
                <a:close/>
                <a:moveTo>
                  <a:pt x="2838" y="3814"/>
                </a:moveTo>
                <a:lnTo>
                  <a:pt x="2838" y="3814"/>
                </a:lnTo>
                <a:lnTo>
                  <a:pt x="2848" y="3842"/>
                </a:lnTo>
                <a:lnTo>
                  <a:pt x="2859" y="3870"/>
                </a:lnTo>
                <a:lnTo>
                  <a:pt x="2873" y="3896"/>
                </a:lnTo>
                <a:lnTo>
                  <a:pt x="2888" y="3921"/>
                </a:lnTo>
                <a:lnTo>
                  <a:pt x="2906" y="3945"/>
                </a:lnTo>
                <a:lnTo>
                  <a:pt x="2925" y="3968"/>
                </a:lnTo>
                <a:lnTo>
                  <a:pt x="2947" y="3987"/>
                </a:lnTo>
                <a:lnTo>
                  <a:pt x="2969" y="4007"/>
                </a:lnTo>
                <a:lnTo>
                  <a:pt x="2993" y="4023"/>
                </a:lnTo>
                <a:lnTo>
                  <a:pt x="3018" y="4039"/>
                </a:lnTo>
                <a:lnTo>
                  <a:pt x="3045" y="4051"/>
                </a:lnTo>
                <a:lnTo>
                  <a:pt x="3073" y="4062"/>
                </a:lnTo>
                <a:lnTo>
                  <a:pt x="3102" y="4071"/>
                </a:lnTo>
                <a:lnTo>
                  <a:pt x="3131" y="4078"/>
                </a:lnTo>
                <a:lnTo>
                  <a:pt x="3162" y="4081"/>
                </a:lnTo>
                <a:lnTo>
                  <a:pt x="3194" y="4082"/>
                </a:lnTo>
                <a:lnTo>
                  <a:pt x="3227" y="4081"/>
                </a:lnTo>
                <a:lnTo>
                  <a:pt x="3261" y="4076"/>
                </a:lnTo>
                <a:lnTo>
                  <a:pt x="3293" y="4069"/>
                </a:lnTo>
                <a:lnTo>
                  <a:pt x="3324" y="4058"/>
                </a:lnTo>
                <a:lnTo>
                  <a:pt x="3354" y="4046"/>
                </a:lnTo>
                <a:lnTo>
                  <a:pt x="3382" y="4030"/>
                </a:lnTo>
                <a:lnTo>
                  <a:pt x="3409" y="4012"/>
                </a:lnTo>
                <a:lnTo>
                  <a:pt x="3434" y="3993"/>
                </a:lnTo>
                <a:lnTo>
                  <a:pt x="3458" y="3970"/>
                </a:lnTo>
                <a:lnTo>
                  <a:pt x="3479" y="3947"/>
                </a:lnTo>
                <a:lnTo>
                  <a:pt x="3498" y="3921"/>
                </a:lnTo>
                <a:lnTo>
                  <a:pt x="3515" y="3894"/>
                </a:lnTo>
                <a:lnTo>
                  <a:pt x="3530" y="3866"/>
                </a:lnTo>
                <a:lnTo>
                  <a:pt x="3541" y="3835"/>
                </a:lnTo>
                <a:lnTo>
                  <a:pt x="3551" y="3803"/>
                </a:lnTo>
                <a:lnTo>
                  <a:pt x="3558" y="3771"/>
                </a:lnTo>
                <a:lnTo>
                  <a:pt x="3561" y="3743"/>
                </a:lnTo>
                <a:lnTo>
                  <a:pt x="3562" y="3714"/>
                </a:lnTo>
                <a:lnTo>
                  <a:pt x="3562" y="3694"/>
                </a:lnTo>
                <a:lnTo>
                  <a:pt x="3561" y="3676"/>
                </a:lnTo>
                <a:lnTo>
                  <a:pt x="3558" y="3658"/>
                </a:lnTo>
                <a:lnTo>
                  <a:pt x="3555" y="3640"/>
                </a:lnTo>
                <a:lnTo>
                  <a:pt x="3551" y="3621"/>
                </a:lnTo>
                <a:lnTo>
                  <a:pt x="3546" y="3603"/>
                </a:lnTo>
                <a:lnTo>
                  <a:pt x="3540" y="3587"/>
                </a:lnTo>
                <a:lnTo>
                  <a:pt x="3533" y="3570"/>
                </a:lnTo>
                <a:lnTo>
                  <a:pt x="3526" y="3553"/>
                </a:lnTo>
                <a:lnTo>
                  <a:pt x="3518" y="3538"/>
                </a:lnTo>
                <a:lnTo>
                  <a:pt x="3509" y="3522"/>
                </a:lnTo>
                <a:lnTo>
                  <a:pt x="3499" y="3507"/>
                </a:lnTo>
                <a:lnTo>
                  <a:pt x="3488" y="3493"/>
                </a:lnTo>
                <a:lnTo>
                  <a:pt x="3479" y="3479"/>
                </a:lnTo>
                <a:lnTo>
                  <a:pt x="3466" y="3465"/>
                </a:lnTo>
                <a:lnTo>
                  <a:pt x="3453" y="3453"/>
                </a:lnTo>
                <a:lnTo>
                  <a:pt x="3441" y="3440"/>
                </a:lnTo>
                <a:lnTo>
                  <a:pt x="3428" y="3429"/>
                </a:lnTo>
                <a:lnTo>
                  <a:pt x="3414" y="3418"/>
                </a:lnTo>
                <a:lnTo>
                  <a:pt x="3399" y="3408"/>
                </a:lnTo>
                <a:lnTo>
                  <a:pt x="3385" y="3398"/>
                </a:lnTo>
                <a:lnTo>
                  <a:pt x="3370" y="3390"/>
                </a:lnTo>
                <a:lnTo>
                  <a:pt x="3353" y="3381"/>
                </a:lnTo>
                <a:lnTo>
                  <a:pt x="3336" y="3373"/>
                </a:lnTo>
                <a:lnTo>
                  <a:pt x="3319" y="3367"/>
                </a:lnTo>
                <a:lnTo>
                  <a:pt x="3303" y="3360"/>
                </a:lnTo>
                <a:lnTo>
                  <a:pt x="3286" y="3356"/>
                </a:lnTo>
                <a:lnTo>
                  <a:pt x="3268" y="3352"/>
                </a:lnTo>
                <a:lnTo>
                  <a:pt x="3250" y="3349"/>
                </a:lnTo>
                <a:lnTo>
                  <a:pt x="3232" y="3347"/>
                </a:lnTo>
                <a:lnTo>
                  <a:pt x="3212" y="3345"/>
                </a:lnTo>
                <a:lnTo>
                  <a:pt x="3194" y="3345"/>
                </a:lnTo>
                <a:lnTo>
                  <a:pt x="3174" y="3345"/>
                </a:lnTo>
                <a:lnTo>
                  <a:pt x="3156" y="3347"/>
                </a:lnTo>
                <a:lnTo>
                  <a:pt x="3137" y="3349"/>
                </a:lnTo>
                <a:lnTo>
                  <a:pt x="3119" y="3352"/>
                </a:lnTo>
                <a:lnTo>
                  <a:pt x="3102" y="3356"/>
                </a:lnTo>
                <a:lnTo>
                  <a:pt x="3084" y="3360"/>
                </a:lnTo>
                <a:lnTo>
                  <a:pt x="3067" y="3367"/>
                </a:lnTo>
                <a:lnTo>
                  <a:pt x="3050" y="3373"/>
                </a:lnTo>
                <a:lnTo>
                  <a:pt x="3033" y="3381"/>
                </a:lnTo>
                <a:lnTo>
                  <a:pt x="3018" y="3390"/>
                </a:lnTo>
                <a:lnTo>
                  <a:pt x="3001" y="3398"/>
                </a:lnTo>
                <a:lnTo>
                  <a:pt x="2987" y="3408"/>
                </a:lnTo>
                <a:lnTo>
                  <a:pt x="2972" y="3418"/>
                </a:lnTo>
                <a:lnTo>
                  <a:pt x="2958" y="3429"/>
                </a:lnTo>
                <a:lnTo>
                  <a:pt x="2946" y="3440"/>
                </a:lnTo>
                <a:lnTo>
                  <a:pt x="2933" y="3453"/>
                </a:lnTo>
                <a:lnTo>
                  <a:pt x="2920" y="3465"/>
                </a:lnTo>
                <a:lnTo>
                  <a:pt x="2909" y="3479"/>
                </a:lnTo>
                <a:lnTo>
                  <a:pt x="2898" y="3493"/>
                </a:lnTo>
                <a:lnTo>
                  <a:pt x="2887" y="3507"/>
                </a:lnTo>
                <a:lnTo>
                  <a:pt x="2877" y="3522"/>
                </a:lnTo>
                <a:lnTo>
                  <a:pt x="2869" y="3538"/>
                </a:lnTo>
                <a:lnTo>
                  <a:pt x="2860" y="3553"/>
                </a:lnTo>
                <a:lnTo>
                  <a:pt x="2853" y="3570"/>
                </a:lnTo>
                <a:lnTo>
                  <a:pt x="2846" y="3587"/>
                </a:lnTo>
                <a:lnTo>
                  <a:pt x="2841" y="3603"/>
                </a:lnTo>
                <a:lnTo>
                  <a:pt x="2837" y="3621"/>
                </a:lnTo>
                <a:lnTo>
                  <a:pt x="2833" y="3640"/>
                </a:lnTo>
                <a:lnTo>
                  <a:pt x="2828" y="3658"/>
                </a:lnTo>
                <a:lnTo>
                  <a:pt x="2827" y="3676"/>
                </a:lnTo>
                <a:lnTo>
                  <a:pt x="2826" y="3694"/>
                </a:lnTo>
                <a:lnTo>
                  <a:pt x="2824" y="3714"/>
                </a:lnTo>
                <a:lnTo>
                  <a:pt x="2826" y="3740"/>
                </a:lnTo>
                <a:lnTo>
                  <a:pt x="2828" y="3765"/>
                </a:lnTo>
                <a:lnTo>
                  <a:pt x="2833" y="3790"/>
                </a:lnTo>
                <a:lnTo>
                  <a:pt x="2838" y="3814"/>
                </a:lnTo>
                <a:close/>
                <a:moveTo>
                  <a:pt x="3194" y="3427"/>
                </a:moveTo>
                <a:lnTo>
                  <a:pt x="3194" y="3427"/>
                </a:lnTo>
                <a:lnTo>
                  <a:pt x="3211" y="3427"/>
                </a:lnTo>
                <a:lnTo>
                  <a:pt x="3227" y="3429"/>
                </a:lnTo>
                <a:lnTo>
                  <a:pt x="3244" y="3432"/>
                </a:lnTo>
                <a:lnTo>
                  <a:pt x="3261" y="3436"/>
                </a:lnTo>
                <a:lnTo>
                  <a:pt x="3276" y="3440"/>
                </a:lnTo>
                <a:lnTo>
                  <a:pt x="3292" y="3446"/>
                </a:lnTo>
                <a:lnTo>
                  <a:pt x="3307" y="3451"/>
                </a:lnTo>
                <a:lnTo>
                  <a:pt x="3322" y="3458"/>
                </a:lnTo>
                <a:lnTo>
                  <a:pt x="3336" y="3465"/>
                </a:lnTo>
                <a:lnTo>
                  <a:pt x="3350" y="3474"/>
                </a:lnTo>
                <a:lnTo>
                  <a:pt x="3363" y="3483"/>
                </a:lnTo>
                <a:lnTo>
                  <a:pt x="3375" y="3493"/>
                </a:lnTo>
                <a:lnTo>
                  <a:pt x="3388" y="3504"/>
                </a:lnTo>
                <a:lnTo>
                  <a:pt x="3399" y="3515"/>
                </a:lnTo>
                <a:lnTo>
                  <a:pt x="3410" y="3527"/>
                </a:lnTo>
                <a:lnTo>
                  <a:pt x="3420" y="3539"/>
                </a:lnTo>
                <a:lnTo>
                  <a:pt x="3020" y="3941"/>
                </a:lnTo>
                <a:lnTo>
                  <a:pt x="3007" y="3930"/>
                </a:lnTo>
                <a:lnTo>
                  <a:pt x="2994" y="3920"/>
                </a:lnTo>
                <a:lnTo>
                  <a:pt x="2983" y="3908"/>
                </a:lnTo>
                <a:lnTo>
                  <a:pt x="2973" y="3896"/>
                </a:lnTo>
                <a:lnTo>
                  <a:pt x="2964" y="3884"/>
                </a:lnTo>
                <a:lnTo>
                  <a:pt x="2954" y="3870"/>
                </a:lnTo>
                <a:lnTo>
                  <a:pt x="2946" y="3856"/>
                </a:lnTo>
                <a:lnTo>
                  <a:pt x="2937" y="3842"/>
                </a:lnTo>
                <a:lnTo>
                  <a:pt x="2932" y="3828"/>
                </a:lnTo>
                <a:lnTo>
                  <a:pt x="2925" y="3813"/>
                </a:lnTo>
                <a:lnTo>
                  <a:pt x="2919" y="3797"/>
                </a:lnTo>
                <a:lnTo>
                  <a:pt x="2915" y="3781"/>
                </a:lnTo>
                <a:lnTo>
                  <a:pt x="2912" y="3764"/>
                </a:lnTo>
                <a:lnTo>
                  <a:pt x="2909" y="3747"/>
                </a:lnTo>
                <a:lnTo>
                  <a:pt x="2908" y="3730"/>
                </a:lnTo>
                <a:lnTo>
                  <a:pt x="2908" y="3714"/>
                </a:lnTo>
                <a:lnTo>
                  <a:pt x="2909" y="3684"/>
                </a:lnTo>
                <a:lnTo>
                  <a:pt x="2913" y="3656"/>
                </a:lnTo>
                <a:lnTo>
                  <a:pt x="2920" y="3628"/>
                </a:lnTo>
                <a:lnTo>
                  <a:pt x="2930" y="3602"/>
                </a:lnTo>
                <a:lnTo>
                  <a:pt x="2941" y="3577"/>
                </a:lnTo>
                <a:lnTo>
                  <a:pt x="2957" y="3553"/>
                </a:lnTo>
                <a:lnTo>
                  <a:pt x="2972" y="3532"/>
                </a:lnTo>
                <a:lnTo>
                  <a:pt x="2992" y="3511"/>
                </a:lnTo>
                <a:lnTo>
                  <a:pt x="3011" y="3493"/>
                </a:lnTo>
                <a:lnTo>
                  <a:pt x="3033" y="3476"/>
                </a:lnTo>
                <a:lnTo>
                  <a:pt x="3057" y="3462"/>
                </a:lnTo>
                <a:lnTo>
                  <a:pt x="3082" y="3450"/>
                </a:lnTo>
                <a:lnTo>
                  <a:pt x="3109" y="3440"/>
                </a:lnTo>
                <a:lnTo>
                  <a:pt x="3135" y="3433"/>
                </a:lnTo>
                <a:lnTo>
                  <a:pt x="3165" y="3429"/>
                </a:lnTo>
                <a:lnTo>
                  <a:pt x="3194" y="3427"/>
                </a:lnTo>
                <a:close/>
                <a:moveTo>
                  <a:pt x="1323" y="3229"/>
                </a:moveTo>
                <a:lnTo>
                  <a:pt x="1757" y="3266"/>
                </a:lnTo>
                <a:lnTo>
                  <a:pt x="1787" y="3267"/>
                </a:lnTo>
                <a:lnTo>
                  <a:pt x="1818" y="3264"/>
                </a:lnTo>
                <a:lnTo>
                  <a:pt x="1847" y="3260"/>
                </a:lnTo>
                <a:lnTo>
                  <a:pt x="1874" y="3253"/>
                </a:lnTo>
                <a:lnTo>
                  <a:pt x="1900" y="3243"/>
                </a:lnTo>
                <a:lnTo>
                  <a:pt x="1927" y="3233"/>
                </a:lnTo>
                <a:lnTo>
                  <a:pt x="1977" y="3211"/>
                </a:lnTo>
                <a:lnTo>
                  <a:pt x="2027" y="3187"/>
                </a:lnTo>
                <a:lnTo>
                  <a:pt x="2054" y="3176"/>
                </a:lnTo>
                <a:lnTo>
                  <a:pt x="2080" y="3168"/>
                </a:lnTo>
                <a:lnTo>
                  <a:pt x="2108" y="3160"/>
                </a:lnTo>
                <a:lnTo>
                  <a:pt x="2138" y="3154"/>
                </a:lnTo>
                <a:lnTo>
                  <a:pt x="2168" y="3151"/>
                </a:lnTo>
                <a:lnTo>
                  <a:pt x="2200" y="3150"/>
                </a:lnTo>
                <a:lnTo>
                  <a:pt x="2392" y="3158"/>
                </a:lnTo>
                <a:lnTo>
                  <a:pt x="2387" y="3125"/>
                </a:lnTo>
                <a:lnTo>
                  <a:pt x="2380" y="3093"/>
                </a:lnTo>
                <a:lnTo>
                  <a:pt x="2373" y="3063"/>
                </a:lnTo>
                <a:lnTo>
                  <a:pt x="2368" y="3049"/>
                </a:lnTo>
                <a:lnTo>
                  <a:pt x="2362" y="3035"/>
                </a:lnTo>
                <a:lnTo>
                  <a:pt x="2355" y="3021"/>
                </a:lnTo>
                <a:lnTo>
                  <a:pt x="2348" y="3009"/>
                </a:lnTo>
                <a:lnTo>
                  <a:pt x="2339" y="2998"/>
                </a:lnTo>
                <a:lnTo>
                  <a:pt x="2329" y="2986"/>
                </a:lnTo>
                <a:lnTo>
                  <a:pt x="2316" y="2975"/>
                </a:lnTo>
                <a:lnTo>
                  <a:pt x="2302" y="2967"/>
                </a:lnTo>
                <a:lnTo>
                  <a:pt x="2287" y="2957"/>
                </a:lnTo>
                <a:lnTo>
                  <a:pt x="2269" y="2950"/>
                </a:lnTo>
                <a:lnTo>
                  <a:pt x="1914" y="2816"/>
                </a:lnTo>
                <a:lnTo>
                  <a:pt x="2026" y="2497"/>
                </a:lnTo>
                <a:lnTo>
                  <a:pt x="2361" y="2060"/>
                </a:lnTo>
                <a:lnTo>
                  <a:pt x="2533" y="1835"/>
                </a:lnTo>
                <a:lnTo>
                  <a:pt x="2594" y="1753"/>
                </a:lnTo>
                <a:lnTo>
                  <a:pt x="2602" y="1740"/>
                </a:lnTo>
                <a:lnTo>
                  <a:pt x="2516" y="1585"/>
                </a:lnTo>
                <a:lnTo>
                  <a:pt x="2574" y="1467"/>
                </a:lnTo>
                <a:lnTo>
                  <a:pt x="2474" y="1368"/>
                </a:lnTo>
                <a:lnTo>
                  <a:pt x="2341" y="1411"/>
                </a:lnTo>
                <a:lnTo>
                  <a:pt x="2281" y="1377"/>
                </a:lnTo>
                <a:lnTo>
                  <a:pt x="2240" y="1355"/>
                </a:lnTo>
                <a:lnTo>
                  <a:pt x="2223" y="1345"/>
                </a:lnTo>
                <a:lnTo>
                  <a:pt x="2209" y="1340"/>
                </a:lnTo>
                <a:lnTo>
                  <a:pt x="2196" y="1336"/>
                </a:lnTo>
                <a:lnTo>
                  <a:pt x="2185" y="1334"/>
                </a:lnTo>
                <a:lnTo>
                  <a:pt x="2173" y="1336"/>
                </a:lnTo>
                <a:lnTo>
                  <a:pt x="2160" y="1338"/>
                </a:lnTo>
                <a:lnTo>
                  <a:pt x="2146" y="1343"/>
                </a:lnTo>
                <a:lnTo>
                  <a:pt x="2129" y="1351"/>
                </a:lnTo>
                <a:lnTo>
                  <a:pt x="2086" y="1372"/>
                </a:lnTo>
                <a:lnTo>
                  <a:pt x="2023" y="1403"/>
                </a:lnTo>
                <a:lnTo>
                  <a:pt x="1988" y="1396"/>
                </a:lnTo>
                <a:lnTo>
                  <a:pt x="1955" y="1389"/>
                </a:lnTo>
                <a:lnTo>
                  <a:pt x="1924" y="1382"/>
                </a:lnTo>
                <a:lnTo>
                  <a:pt x="1895" y="1377"/>
                </a:lnTo>
                <a:lnTo>
                  <a:pt x="1880" y="1376"/>
                </a:lnTo>
                <a:lnTo>
                  <a:pt x="1866" y="1376"/>
                </a:lnTo>
                <a:lnTo>
                  <a:pt x="1850" y="1376"/>
                </a:lnTo>
                <a:lnTo>
                  <a:pt x="1836" y="1377"/>
                </a:lnTo>
                <a:lnTo>
                  <a:pt x="1821" y="1380"/>
                </a:lnTo>
                <a:lnTo>
                  <a:pt x="1807" y="1384"/>
                </a:lnTo>
                <a:lnTo>
                  <a:pt x="1792" y="1391"/>
                </a:lnTo>
                <a:lnTo>
                  <a:pt x="1775" y="1398"/>
                </a:lnTo>
                <a:lnTo>
                  <a:pt x="1028" y="1810"/>
                </a:lnTo>
                <a:lnTo>
                  <a:pt x="984" y="1852"/>
                </a:lnTo>
                <a:lnTo>
                  <a:pt x="921" y="1909"/>
                </a:lnTo>
                <a:lnTo>
                  <a:pt x="848" y="1979"/>
                </a:lnTo>
                <a:lnTo>
                  <a:pt x="808" y="2017"/>
                </a:lnTo>
                <a:lnTo>
                  <a:pt x="769" y="2057"/>
                </a:lnTo>
                <a:lnTo>
                  <a:pt x="728" y="2100"/>
                </a:lnTo>
                <a:lnTo>
                  <a:pt x="691" y="2144"/>
                </a:lnTo>
                <a:lnTo>
                  <a:pt x="653" y="2188"/>
                </a:lnTo>
                <a:lnTo>
                  <a:pt x="618" y="2236"/>
                </a:lnTo>
                <a:lnTo>
                  <a:pt x="603" y="2258"/>
                </a:lnTo>
                <a:lnTo>
                  <a:pt x="587" y="2282"/>
                </a:lnTo>
                <a:lnTo>
                  <a:pt x="573" y="2305"/>
                </a:lnTo>
                <a:lnTo>
                  <a:pt x="560" y="2329"/>
                </a:lnTo>
                <a:lnTo>
                  <a:pt x="548" y="2353"/>
                </a:lnTo>
                <a:lnTo>
                  <a:pt x="537" y="2377"/>
                </a:lnTo>
                <a:lnTo>
                  <a:pt x="527" y="2400"/>
                </a:lnTo>
                <a:lnTo>
                  <a:pt x="520" y="2424"/>
                </a:lnTo>
                <a:lnTo>
                  <a:pt x="434" y="2338"/>
                </a:lnTo>
                <a:lnTo>
                  <a:pt x="442" y="2314"/>
                </a:lnTo>
                <a:lnTo>
                  <a:pt x="453" y="2291"/>
                </a:lnTo>
                <a:lnTo>
                  <a:pt x="465" y="2269"/>
                </a:lnTo>
                <a:lnTo>
                  <a:pt x="477" y="2247"/>
                </a:lnTo>
                <a:lnTo>
                  <a:pt x="504" y="2204"/>
                </a:lnTo>
                <a:lnTo>
                  <a:pt x="533" y="2160"/>
                </a:lnTo>
                <a:lnTo>
                  <a:pt x="565" y="2118"/>
                </a:lnTo>
                <a:lnTo>
                  <a:pt x="600" y="2078"/>
                </a:lnTo>
                <a:lnTo>
                  <a:pt x="635" y="2037"/>
                </a:lnTo>
                <a:lnTo>
                  <a:pt x="673" y="1998"/>
                </a:lnTo>
                <a:lnTo>
                  <a:pt x="710" y="1959"/>
                </a:lnTo>
                <a:lnTo>
                  <a:pt x="748" y="1923"/>
                </a:lnTo>
                <a:lnTo>
                  <a:pt x="823" y="1850"/>
                </a:lnTo>
                <a:lnTo>
                  <a:pt x="896" y="1784"/>
                </a:lnTo>
                <a:lnTo>
                  <a:pt x="961" y="1719"/>
                </a:lnTo>
                <a:lnTo>
                  <a:pt x="1722" y="1301"/>
                </a:lnTo>
                <a:lnTo>
                  <a:pt x="1741" y="1291"/>
                </a:lnTo>
                <a:lnTo>
                  <a:pt x="1760" y="1283"/>
                </a:lnTo>
                <a:lnTo>
                  <a:pt x="1778" y="1277"/>
                </a:lnTo>
                <a:lnTo>
                  <a:pt x="1794" y="1271"/>
                </a:lnTo>
                <a:lnTo>
                  <a:pt x="1811" y="1269"/>
                </a:lnTo>
                <a:lnTo>
                  <a:pt x="1828" y="1266"/>
                </a:lnTo>
                <a:lnTo>
                  <a:pt x="1845" y="1264"/>
                </a:lnTo>
                <a:lnTo>
                  <a:pt x="1861" y="1264"/>
                </a:lnTo>
                <a:lnTo>
                  <a:pt x="1895" y="1267"/>
                </a:lnTo>
                <a:lnTo>
                  <a:pt x="1930" y="1273"/>
                </a:lnTo>
                <a:lnTo>
                  <a:pt x="2008" y="1287"/>
                </a:lnTo>
                <a:lnTo>
                  <a:pt x="2068" y="1257"/>
                </a:lnTo>
                <a:lnTo>
                  <a:pt x="2115" y="1236"/>
                </a:lnTo>
                <a:lnTo>
                  <a:pt x="2135" y="1229"/>
                </a:lnTo>
                <a:lnTo>
                  <a:pt x="2152" y="1225"/>
                </a:lnTo>
                <a:lnTo>
                  <a:pt x="2168" y="1221"/>
                </a:lnTo>
                <a:lnTo>
                  <a:pt x="2184" y="1221"/>
                </a:lnTo>
                <a:lnTo>
                  <a:pt x="2199" y="1222"/>
                </a:lnTo>
                <a:lnTo>
                  <a:pt x="2214" y="1225"/>
                </a:lnTo>
                <a:lnTo>
                  <a:pt x="2231" y="1231"/>
                </a:lnTo>
                <a:lnTo>
                  <a:pt x="2249" y="1238"/>
                </a:lnTo>
                <a:lnTo>
                  <a:pt x="2294" y="1260"/>
                </a:lnTo>
                <a:lnTo>
                  <a:pt x="2351" y="1289"/>
                </a:lnTo>
                <a:lnTo>
                  <a:pt x="2413" y="1271"/>
                </a:lnTo>
                <a:lnTo>
                  <a:pt x="2436" y="1264"/>
                </a:lnTo>
                <a:lnTo>
                  <a:pt x="2457" y="1260"/>
                </a:lnTo>
                <a:lnTo>
                  <a:pt x="2475" y="1257"/>
                </a:lnTo>
                <a:lnTo>
                  <a:pt x="2491" y="1257"/>
                </a:lnTo>
                <a:lnTo>
                  <a:pt x="2505" y="1259"/>
                </a:lnTo>
                <a:lnTo>
                  <a:pt x="2519" y="1263"/>
                </a:lnTo>
                <a:lnTo>
                  <a:pt x="2531" y="1270"/>
                </a:lnTo>
                <a:lnTo>
                  <a:pt x="2544" y="1278"/>
                </a:lnTo>
                <a:lnTo>
                  <a:pt x="2558" y="1291"/>
                </a:lnTo>
                <a:lnTo>
                  <a:pt x="2572" y="1305"/>
                </a:lnTo>
                <a:lnTo>
                  <a:pt x="2606" y="1341"/>
                </a:lnTo>
                <a:lnTo>
                  <a:pt x="2653" y="1389"/>
                </a:lnTo>
                <a:lnTo>
                  <a:pt x="2664" y="1400"/>
                </a:lnTo>
                <a:lnTo>
                  <a:pt x="2672" y="1412"/>
                </a:lnTo>
                <a:lnTo>
                  <a:pt x="2678" y="1425"/>
                </a:lnTo>
                <a:lnTo>
                  <a:pt x="2682" y="1436"/>
                </a:lnTo>
                <a:lnTo>
                  <a:pt x="2683" y="1449"/>
                </a:lnTo>
                <a:lnTo>
                  <a:pt x="2685" y="1461"/>
                </a:lnTo>
                <a:lnTo>
                  <a:pt x="2683" y="1474"/>
                </a:lnTo>
                <a:lnTo>
                  <a:pt x="2682" y="1486"/>
                </a:lnTo>
                <a:lnTo>
                  <a:pt x="2678" y="1497"/>
                </a:lnTo>
                <a:lnTo>
                  <a:pt x="2675" y="1510"/>
                </a:lnTo>
                <a:lnTo>
                  <a:pt x="2664" y="1534"/>
                </a:lnTo>
                <a:lnTo>
                  <a:pt x="2641" y="1581"/>
                </a:lnTo>
                <a:lnTo>
                  <a:pt x="2658" y="1609"/>
                </a:lnTo>
                <a:lnTo>
                  <a:pt x="2676" y="1638"/>
                </a:lnTo>
                <a:lnTo>
                  <a:pt x="2692" y="1666"/>
                </a:lnTo>
                <a:lnTo>
                  <a:pt x="2699" y="1682"/>
                </a:lnTo>
                <a:lnTo>
                  <a:pt x="2706" y="1697"/>
                </a:lnTo>
                <a:lnTo>
                  <a:pt x="2710" y="1712"/>
                </a:lnTo>
                <a:lnTo>
                  <a:pt x="2714" y="1726"/>
                </a:lnTo>
                <a:lnTo>
                  <a:pt x="2715" y="1742"/>
                </a:lnTo>
                <a:lnTo>
                  <a:pt x="2714" y="1758"/>
                </a:lnTo>
                <a:lnTo>
                  <a:pt x="2711" y="1774"/>
                </a:lnTo>
                <a:lnTo>
                  <a:pt x="2706" y="1789"/>
                </a:lnTo>
                <a:lnTo>
                  <a:pt x="2699" y="1806"/>
                </a:lnTo>
                <a:lnTo>
                  <a:pt x="2687" y="1821"/>
                </a:lnTo>
                <a:lnTo>
                  <a:pt x="2125" y="2550"/>
                </a:lnTo>
                <a:lnTo>
                  <a:pt x="2055" y="2751"/>
                </a:lnTo>
                <a:lnTo>
                  <a:pt x="2110" y="2769"/>
                </a:lnTo>
                <a:lnTo>
                  <a:pt x="2173" y="2791"/>
                </a:lnTo>
                <a:lnTo>
                  <a:pt x="2206" y="2802"/>
                </a:lnTo>
                <a:lnTo>
                  <a:pt x="2241" y="2816"/>
                </a:lnTo>
                <a:lnTo>
                  <a:pt x="2274" y="2830"/>
                </a:lnTo>
                <a:lnTo>
                  <a:pt x="2308" y="2847"/>
                </a:lnTo>
                <a:lnTo>
                  <a:pt x="2340" y="2864"/>
                </a:lnTo>
                <a:lnTo>
                  <a:pt x="2371" y="2883"/>
                </a:lnTo>
                <a:lnTo>
                  <a:pt x="2399" y="2904"/>
                </a:lnTo>
                <a:lnTo>
                  <a:pt x="2413" y="2915"/>
                </a:lnTo>
                <a:lnTo>
                  <a:pt x="2425" y="2928"/>
                </a:lnTo>
                <a:lnTo>
                  <a:pt x="2436" y="2940"/>
                </a:lnTo>
                <a:lnTo>
                  <a:pt x="2446" y="2953"/>
                </a:lnTo>
                <a:lnTo>
                  <a:pt x="2456" y="2967"/>
                </a:lnTo>
                <a:lnTo>
                  <a:pt x="2464" y="2981"/>
                </a:lnTo>
                <a:lnTo>
                  <a:pt x="2473" y="2996"/>
                </a:lnTo>
                <a:lnTo>
                  <a:pt x="2478" y="3012"/>
                </a:lnTo>
                <a:lnTo>
                  <a:pt x="2484" y="3027"/>
                </a:lnTo>
                <a:lnTo>
                  <a:pt x="2486" y="3045"/>
                </a:lnTo>
                <a:lnTo>
                  <a:pt x="2524" y="3274"/>
                </a:lnTo>
                <a:lnTo>
                  <a:pt x="2445" y="3270"/>
                </a:lnTo>
                <a:lnTo>
                  <a:pt x="2372" y="3264"/>
                </a:lnTo>
                <a:lnTo>
                  <a:pt x="2308" y="3259"/>
                </a:lnTo>
                <a:lnTo>
                  <a:pt x="2279" y="3257"/>
                </a:lnTo>
                <a:lnTo>
                  <a:pt x="2249" y="3256"/>
                </a:lnTo>
                <a:lnTo>
                  <a:pt x="2220" y="3257"/>
                </a:lnTo>
                <a:lnTo>
                  <a:pt x="2192" y="3259"/>
                </a:lnTo>
                <a:lnTo>
                  <a:pt x="2164" y="3263"/>
                </a:lnTo>
                <a:lnTo>
                  <a:pt x="2136" y="3268"/>
                </a:lnTo>
                <a:lnTo>
                  <a:pt x="2107" y="3277"/>
                </a:lnTo>
                <a:lnTo>
                  <a:pt x="2078" y="3287"/>
                </a:lnTo>
                <a:lnTo>
                  <a:pt x="2047" y="3300"/>
                </a:lnTo>
                <a:lnTo>
                  <a:pt x="2015" y="3317"/>
                </a:lnTo>
                <a:lnTo>
                  <a:pt x="1990" y="3330"/>
                </a:lnTo>
                <a:lnTo>
                  <a:pt x="1965" y="3342"/>
                </a:lnTo>
                <a:lnTo>
                  <a:pt x="1937" y="3353"/>
                </a:lnTo>
                <a:lnTo>
                  <a:pt x="1906" y="3363"/>
                </a:lnTo>
                <a:lnTo>
                  <a:pt x="1873" y="3372"/>
                </a:lnTo>
                <a:lnTo>
                  <a:pt x="1854" y="3374"/>
                </a:lnTo>
                <a:lnTo>
                  <a:pt x="1835" y="3377"/>
                </a:lnTo>
                <a:lnTo>
                  <a:pt x="1814" y="3379"/>
                </a:lnTo>
                <a:lnTo>
                  <a:pt x="1793" y="3379"/>
                </a:lnTo>
                <a:lnTo>
                  <a:pt x="1771" y="3379"/>
                </a:lnTo>
                <a:lnTo>
                  <a:pt x="1747" y="3376"/>
                </a:lnTo>
                <a:lnTo>
                  <a:pt x="1441" y="3351"/>
                </a:lnTo>
                <a:lnTo>
                  <a:pt x="1443" y="3349"/>
                </a:lnTo>
                <a:lnTo>
                  <a:pt x="1323" y="3229"/>
                </a:lnTo>
                <a:close/>
              </a:path>
            </a:pathLst>
          </a:custGeom>
          <a:solidFill>
            <a:srgbClr val="808080">
              <a:lumMod val="50000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anchor="t"/>
          <a:lstStyle/>
          <a:p>
            <a:pPr marL="0" marR="0" lvl="0" indent="0" algn="l" defTabSz="9140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10" name="Diagram 10">
            <a:extLst>
              <a:ext uri="{FF2B5EF4-FFF2-40B4-BE49-F238E27FC236}">
                <a16:creationId xmlns:a16="http://schemas.microsoft.com/office/drawing/2014/main" id="{56605D42-0009-46A2-9996-BB782B583D5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61432977"/>
              </p:ext>
            </p:extLst>
          </p:nvPr>
        </p:nvGraphicFramePr>
        <p:xfrm>
          <a:off x="694625" y="1167230"/>
          <a:ext cx="2960505" cy="40052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23" name="Group 22">
            <a:extLst>
              <a:ext uri="{FF2B5EF4-FFF2-40B4-BE49-F238E27FC236}">
                <a16:creationId xmlns:a16="http://schemas.microsoft.com/office/drawing/2014/main" id="{8A176FE9-9F46-4431-AD60-1F8D19F0C4B6}"/>
              </a:ext>
            </a:extLst>
          </p:cNvPr>
          <p:cNvGrpSpPr/>
          <p:nvPr/>
        </p:nvGrpSpPr>
        <p:grpSpPr>
          <a:xfrm>
            <a:off x="694625" y="3454269"/>
            <a:ext cx="2921398" cy="896713"/>
            <a:chOff x="0" y="1561822"/>
            <a:chExt cx="2408100" cy="1531577"/>
          </a:xfrm>
        </p:grpSpPr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D518B556-1F13-47A6-85AC-3608B2D61D5B}"/>
                </a:ext>
              </a:extLst>
            </p:cNvPr>
            <p:cNvSpPr/>
            <p:nvPr/>
          </p:nvSpPr>
          <p:spPr>
            <a:xfrm>
              <a:off x="0" y="1561822"/>
              <a:ext cx="2408100" cy="1444860"/>
            </a:xfrm>
            <a:prstGeom prst="roundRect">
              <a:avLst/>
            </a:prstGeom>
            <a:ln w="12700">
              <a:solidFill>
                <a:schemeClr val="bg2">
                  <a:lumMod val="50000"/>
                  <a:lumOff val="50000"/>
                </a:schemeClr>
              </a:solidFill>
              <a:prstDash val="dash"/>
            </a:ln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5" name="Rectangle: Rounded Corners 4">
              <a:extLst>
                <a:ext uri="{FF2B5EF4-FFF2-40B4-BE49-F238E27FC236}">
                  <a16:creationId xmlns:a16="http://schemas.microsoft.com/office/drawing/2014/main" id="{9E3DC217-DEEE-4FA4-94B5-721EE7894A0D}"/>
                </a:ext>
              </a:extLst>
            </p:cNvPr>
            <p:cNvSpPr txBox="1"/>
            <p:nvPr/>
          </p:nvSpPr>
          <p:spPr>
            <a:xfrm>
              <a:off x="71888" y="1789604"/>
              <a:ext cx="2267036" cy="130379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9530" tIns="49530" rIns="49530" bIns="49530" numCol="1" spcCol="1270" anchor="ctr" anchorCtr="0">
              <a:noAutofit/>
            </a:bodyPr>
            <a:lstStyle/>
            <a:p>
              <a:pPr lvl="0" algn="ctr"/>
              <a:r>
                <a:rPr lang="ru-RU" sz="1500" dirty="0">
                  <a:solidFill>
                    <a:srgbClr val="2E2E38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скоренная амортизация ОС</a:t>
              </a:r>
              <a:endParaRPr lang="en-US" sz="1500" dirty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lvl="0" indent="0" algn="ctr" defTabSz="57785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ru-RU" sz="1300" b="0" kern="1200" dirty="0">
                <a:solidFill>
                  <a:srgbClr val="2E2E3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aphicFrame>
        <p:nvGraphicFramePr>
          <p:cNvPr id="26" name="Table 24">
            <a:extLst>
              <a:ext uri="{FF2B5EF4-FFF2-40B4-BE49-F238E27FC236}">
                <a16:creationId xmlns:a16="http://schemas.microsoft.com/office/drawing/2014/main" id="{84A2F755-F5D8-40E3-8903-80A967F21D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2467023"/>
              </p:ext>
            </p:extLst>
          </p:nvPr>
        </p:nvGraphicFramePr>
        <p:xfrm>
          <a:off x="3655129" y="1091030"/>
          <a:ext cx="4896679" cy="5492496"/>
        </p:xfrm>
        <a:graphic>
          <a:graphicData uri="http://schemas.openxmlformats.org/drawingml/2006/table">
            <a:tbl>
              <a:tblPr firstRow="1" bandRow="1">
                <a:effectLst/>
                <a:tableStyleId>{073A0DAA-6AF3-43AB-8588-CEC1D06C72B9}</a:tableStyleId>
              </a:tblPr>
              <a:tblGrid>
                <a:gridCol w="4896679">
                  <a:extLst>
                    <a:ext uri="{9D8B030D-6E8A-4147-A177-3AD203B41FA5}">
                      <a16:colId xmlns:a16="http://schemas.microsoft.com/office/drawing/2014/main" val="2768112557"/>
                    </a:ext>
                  </a:extLst>
                </a:gridCol>
              </a:tblGrid>
              <a:tr h="783997">
                <a:tc>
                  <a:txBody>
                    <a:bodyPr/>
                    <a:lstStyle/>
                    <a:p>
                      <a:pPr marL="171450" indent="-171450" algn="just">
                        <a:buClr>
                          <a:schemeClr val="tx2"/>
                        </a:buClr>
                        <a:buFont typeface="Arial" panose="020B0604020202020204" pitchFamily="34" charset="0"/>
                        <a:buChar char="►"/>
                      </a:pPr>
                      <a:r>
                        <a:rPr lang="ru-RU" sz="1400" b="0" kern="120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авило, которое предоставляло бы возможность </a:t>
                      </a:r>
                      <a:r>
                        <a:rPr lang="ru" sz="1400" b="0" kern="1200" noProof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логоплательщикам </a:t>
                      </a:r>
                      <a:r>
                        <a:rPr lang="ru-RU" sz="1400" b="0" kern="1200" noProof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спользования дебетового НДС в счет уплаты других налогов. Также, возможность единовременного осуществления возврата накопленного НДС (чтобы НДС возвращался не дожидаясь момента начала добычи).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2625180"/>
                  </a:ext>
                </a:extLst>
              </a:tr>
              <a:tr h="641452">
                <a:tc>
                  <a:txBody>
                    <a:bodyPr/>
                    <a:lstStyle/>
                    <a:p>
                      <a:pPr marL="171450" indent="-171450" algn="just" defTabSz="685434" rtl="0" eaLnBrk="1" latinLnBrk="0" hangingPunct="1">
                        <a:buClr>
                          <a:schemeClr val="tx2"/>
                        </a:buClr>
                        <a:buFont typeface="Arial" panose="020B0604020202020204" pitchFamily="34" charset="0"/>
                        <a:buChar char="►"/>
                      </a:pPr>
                      <a:r>
                        <a:rPr lang="ru-RU" sz="1400" b="0" kern="120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авило, которое предоставляло бы налогоплательщикам возможность начисления НДПИ по мере реализации ПИ и чтобы нормируемые потери включали в себя потери при переработке.</a:t>
                      </a:r>
                      <a:endParaRPr lang="en-US" sz="1400" b="0" kern="120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0142623"/>
                  </a:ext>
                </a:extLst>
              </a:tr>
              <a:tr h="793252">
                <a:tc>
                  <a:txBody>
                    <a:bodyPr/>
                    <a:lstStyle/>
                    <a:p>
                      <a:pPr marL="171450" marR="0" lvl="0" indent="-171450" algn="just" defTabSz="685434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►"/>
                        <a:tabLst/>
                        <a:defRPr/>
                      </a:pPr>
                      <a:r>
                        <a:rPr lang="ru-RU" sz="1400" b="0" kern="1200" noProof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авило, которое предоставляло бы налогоплательщикам в период переработки возможность ускоренной амортизации ОС используемых для недропользования</a:t>
                      </a:r>
                      <a:r>
                        <a:rPr lang="en-US" sz="1400" b="0" kern="1200" noProof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kern="1200" noProof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 используемых на переработке и инфраструктуре.</a:t>
                      </a:r>
                      <a:endParaRPr lang="ru" sz="1400" b="0" kern="1200" noProof="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9739485"/>
                  </a:ext>
                </a:extLst>
              </a:tr>
              <a:tr h="880800">
                <a:tc>
                  <a:txBody>
                    <a:bodyPr/>
                    <a:lstStyle/>
                    <a:p>
                      <a:pPr marL="171450" marR="0" lvl="0" indent="-171450" algn="just" defTabSz="685434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►"/>
                        <a:tabLst/>
                        <a:defRPr/>
                      </a:pPr>
                      <a:r>
                        <a:rPr lang="ru-RU" sz="1400" b="0" kern="1200" noProof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авило, которое позволяло бы недропользователям, осуществляющим горнодобывающую деятельность, относить на вычеты расходы на геологоразведку, против доходов, полученных в рамках других контрактов.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8688555"/>
                  </a:ext>
                </a:extLst>
              </a:tr>
              <a:tr h="687756">
                <a:tc>
                  <a:txBody>
                    <a:bodyPr/>
                    <a:lstStyle/>
                    <a:p>
                      <a:pPr marL="171450" marR="0" lvl="0" indent="-171450" algn="just" defTabSz="685434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►"/>
                        <a:tabLst/>
                        <a:defRPr/>
                      </a:pPr>
                      <a:r>
                        <a:rPr lang="ru-RU" sz="1400" b="0" kern="1200" noProof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авило, </a:t>
                      </a:r>
                      <a:r>
                        <a:rPr lang="ru" sz="1400" b="0" kern="1200" noProof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торое предоставляло бы налогоплательщикам </a:t>
                      </a:r>
                      <a:r>
                        <a:rPr lang="ru-RU" sz="1400" b="0" kern="1200" noProof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существляющим инвестиции возможность предоставления освобождения от обязательств по</a:t>
                      </a:r>
                      <a:r>
                        <a:rPr lang="en-US" sz="1400" b="0" kern="1200" noProof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kern="1200" noProof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аким налогам как КПН, КПН у источника выплаты, земельный налог, налог на имущество в период добычи. </a:t>
                      </a:r>
                      <a:endParaRPr lang="ru" sz="1400" b="0" kern="1200" noProof="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3863800"/>
                  </a:ext>
                </a:extLst>
              </a:tr>
            </a:tbl>
          </a:graphicData>
        </a:graphic>
      </p:graphicFrame>
      <p:grpSp>
        <p:nvGrpSpPr>
          <p:cNvPr id="15" name="Group 14">
            <a:extLst>
              <a:ext uri="{FF2B5EF4-FFF2-40B4-BE49-F238E27FC236}">
                <a16:creationId xmlns:a16="http://schemas.microsoft.com/office/drawing/2014/main" id="{33BADD5B-A9DB-44A6-B0D5-84C2DA7E12DC}"/>
              </a:ext>
            </a:extLst>
          </p:cNvPr>
          <p:cNvGrpSpPr/>
          <p:nvPr/>
        </p:nvGrpSpPr>
        <p:grpSpPr>
          <a:xfrm>
            <a:off x="681207" y="4455948"/>
            <a:ext cx="2921398" cy="1045195"/>
            <a:chOff x="0" y="1561822"/>
            <a:chExt cx="2408100" cy="1775327"/>
          </a:xfrm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5B96D606-3AF2-464D-A952-4FDC63E8231A}"/>
                </a:ext>
              </a:extLst>
            </p:cNvPr>
            <p:cNvSpPr/>
            <p:nvPr/>
          </p:nvSpPr>
          <p:spPr>
            <a:xfrm>
              <a:off x="0" y="1561822"/>
              <a:ext cx="2408100" cy="1444860"/>
            </a:xfrm>
            <a:prstGeom prst="roundRect">
              <a:avLst/>
            </a:prstGeom>
            <a:ln w="12700">
              <a:solidFill>
                <a:schemeClr val="bg2">
                  <a:lumMod val="50000"/>
                  <a:lumOff val="50000"/>
                </a:schemeClr>
              </a:solidFill>
              <a:prstDash val="dash"/>
            </a:ln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8" name="Rectangle: Rounded Corners 4">
              <a:extLst>
                <a:ext uri="{FF2B5EF4-FFF2-40B4-BE49-F238E27FC236}">
                  <a16:creationId xmlns:a16="http://schemas.microsoft.com/office/drawing/2014/main" id="{675A5A0E-0805-411B-80B0-5312107E770B}"/>
                </a:ext>
              </a:extLst>
            </p:cNvPr>
            <p:cNvSpPr txBox="1"/>
            <p:nvPr/>
          </p:nvSpPr>
          <p:spPr>
            <a:xfrm>
              <a:off x="71888" y="1789604"/>
              <a:ext cx="2267036" cy="154754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9530" tIns="49530" rIns="49530" bIns="49530" numCol="1" spcCol="1270" anchor="b" anchorCtr="0">
              <a:noAutofit/>
            </a:bodyPr>
            <a:lstStyle/>
            <a:p>
              <a:pPr lvl="0" algn="ctr"/>
              <a:r>
                <a:rPr lang="ru-RU" sz="1500" dirty="0">
                  <a:solidFill>
                    <a:srgbClr val="2E2E38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тмена раздельного налогового учета между контрактами</a:t>
              </a:r>
              <a:endParaRPr lang="en-US" sz="1500" dirty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lvl="0" indent="0" algn="ctr" defTabSz="57785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ru-RU" sz="1300" b="0" kern="1200" dirty="0">
                <a:solidFill>
                  <a:srgbClr val="2E2E3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DB5913E-577E-4B69-A43C-5923AA2B0D17}"/>
              </a:ext>
            </a:extLst>
          </p:cNvPr>
          <p:cNvGrpSpPr/>
          <p:nvPr/>
        </p:nvGrpSpPr>
        <p:grpSpPr>
          <a:xfrm>
            <a:off x="681207" y="5451645"/>
            <a:ext cx="2960505" cy="1014011"/>
            <a:chOff x="0" y="3034383"/>
            <a:chExt cx="2743200" cy="822960"/>
          </a:xfrm>
        </p:grpSpPr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FAB6E3D0-03AE-4054-929E-E1C29AE8ACEB}"/>
                </a:ext>
              </a:extLst>
            </p:cNvPr>
            <p:cNvSpPr/>
            <p:nvPr/>
          </p:nvSpPr>
          <p:spPr>
            <a:xfrm flipH="1">
              <a:off x="0" y="3034383"/>
              <a:ext cx="2743200" cy="822960"/>
            </a:xfrm>
            <a:prstGeom prst="roundRect">
              <a:avLst/>
            </a:prstGeom>
            <a:solidFill>
              <a:srgbClr val="FFE600">
                <a:hueOff val="0"/>
                <a:satOff val="0"/>
                <a:lumOff val="0"/>
                <a:alphaOff val="0"/>
              </a:srgbClr>
            </a:solidFill>
            <a:ln w="9525" cap="flat" cmpd="sng" algn="ctr">
              <a:solidFill>
                <a:schemeClr val="bg2">
                  <a:lumMod val="50000"/>
                  <a:lumOff val="50000"/>
                </a:schemeClr>
              </a:solidFill>
              <a:prstDash val="dash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27" name="Rectangle: Rounded Corners 4">
              <a:extLst>
                <a:ext uri="{FF2B5EF4-FFF2-40B4-BE49-F238E27FC236}">
                  <a16:creationId xmlns:a16="http://schemas.microsoft.com/office/drawing/2014/main" id="{3364E021-08A9-4A62-91AC-A80FBB4AB68D}"/>
                </a:ext>
              </a:extLst>
            </p:cNvPr>
            <p:cNvSpPr txBox="1"/>
            <p:nvPr/>
          </p:nvSpPr>
          <p:spPr>
            <a:xfrm>
              <a:off x="40174" y="3074555"/>
              <a:ext cx="2662852" cy="74261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9530" tIns="49530" rIns="49530" bIns="49530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500" dirty="0">
                  <a:solidFill>
                    <a:srgbClr val="2E2E38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алоговые преференции в виде освобождения от уплаты налогов на определенный срок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027492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5A8BC3F5-FC44-4B05-A79F-ED0AB6069898}"/>
              </a:ext>
            </a:extLst>
          </p:cNvPr>
          <p:cNvSpPr txBox="1"/>
          <p:nvPr/>
        </p:nvSpPr>
        <p:spPr>
          <a:xfrm>
            <a:off x="607798" y="719139"/>
            <a:ext cx="4471277" cy="4991816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" panose="02000503020000020004" pitchFamily="2" charset="0"/>
              </a:rPr>
              <a:t>EY 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" panose="02000503020000020004" pitchFamily="2" charset="0"/>
              </a:rPr>
              <a:t> 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" panose="02000503020000020004" pitchFamily="2" charset="0"/>
                <a:cs typeface="Arial"/>
              </a:rPr>
              <a:t>|  Assurance | Tax | Transactions | Advisory</a:t>
            </a:r>
            <a:endParaRPr lang="en-US" dirty="0">
              <a:latin typeface="EYInterstate" panose="02000503020000020004" pitchFamily="2" charset="0"/>
            </a:endParaRPr>
          </a:p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endParaRPr lang="en-US" sz="9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YInterstate" panose="02000503020000020004" pitchFamily="2" charset="0"/>
              <a:cs typeface="Arial"/>
            </a:endParaRPr>
          </a:p>
          <a:p>
            <a:pPr marL="12700" algn="just">
              <a:lnSpc>
                <a:spcPct val="100000"/>
              </a:lnSpc>
              <a:spcBef>
                <a:spcPts val="390"/>
              </a:spcBef>
            </a:pPr>
            <a:r>
              <a:rPr lang="ru-RU" sz="800" b="1" spc="-20" dirty="0">
                <a:solidFill>
                  <a:schemeClr val="bg1"/>
                </a:solidFill>
                <a:latin typeface="EYInterstate" panose="02000503020000020004" pitchFamily="2" charset="0"/>
                <a:cs typeface="EYInterstate"/>
              </a:rPr>
              <a:t>Краткая информация о компании EY</a:t>
            </a:r>
          </a:p>
          <a:p>
            <a:pPr marL="12700" marR="19050" algn="just">
              <a:lnSpc>
                <a:spcPct val="104200"/>
              </a:lnSpc>
              <a:spcBef>
                <a:spcPts val="495"/>
              </a:spcBef>
            </a:pPr>
            <a:r>
              <a:rPr lang="ru-RU" sz="800" kern="0" dirty="0">
                <a:solidFill>
                  <a:schemeClr val="bg1"/>
                </a:solidFill>
                <a:cs typeface="Arial"/>
              </a:rPr>
              <a:t>EY является международным лидером в области аудита, налогообложения, сопровождения сделок и консультирования. Наши знания и качество услуг помогают укреплять доверие общественности к рынкам капитала и экономике в разных странах мира. Мы формируем выдающихся лидеров, под руководством которых наш коллектив всегда выполняет взятые на себя обязательства. Тем самым мы вносим значимый вклад в улучшение деловой среды на благо наших сотрудников, клиентов и общества в целом.</a:t>
            </a:r>
          </a:p>
          <a:p>
            <a:pPr marL="12700" marR="19050" algn="just">
              <a:lnSpc>
                <a:spcPct val="104200"/>
              </a:lnSpc>
              <a:spcBef>
                <a:spcPts val="495"/>
              </a:spcBef>
            </a:pPr>
            <a:r>
              <a:rPr lang="ru-RU" sz="800" kern="0" dirty="0">
                <a:solidFill>
                  <a:schemeClr val="bg1"/>
                </a:solidFill>
                <a:cs typeface="Arial"/>
              </a:rPr>
              <a:t>Мы постоянно расширяем наши услуги и ресурсы с учетом потребностей клиентов в различных регионах СНГ. В 19 офисах нашей фирмы (в Москве, Санкт-Петербурге, Новосибирске, Екатеринбурге, Казани, Краснодаре, Тольятти, </a:t>
            </a:r>
            <a:r>
              <a:rPr lang="ru-RU" sz="800" kern="0" dirty="0" err="1">
                <a:solidFill>
                  <a:schemeClr val="bg1"/>
                </a:solidFill>
                <a:cs typeface="Arial"/>
              </a:rPr>
              <a:t>Ростове</a:t>
            </a:r>
            <a:r>
              <a:rPr lang="ru-RU" sz="800" kern="0" dirty="0">
                <a:solidFill>
                  <a:schemeClr val="bg1"/>
                </a:solidFill>
                <a:cs typeface="Arial"/>
              </a:rPr>
              <a:t>-на-Дону, Владивостоке, Алматы, </a:t>
            </a:r>
            <a:r>
              <a:rPr lang="ru-RU" sz="800" kern="0" dirty="0" err="1">
                <a:solidFill>
                  <a:schemeClr val="bg1"/>
                </a:solidFill>
                <a:cs typeface="Arial"/>
              </a:rPr>
              <a:t>Нур</a:t>
            </a:r>
            <a:r>
              <a:rPr lang="ru-RU" sz="800" kern="0" dirty="0">
                <a:solidFill>
                  <a:schemeClr val="bg1"/>
                </a:solidFill>
                <a:cs typeface="Arial"/>
              </a:rPr>
              <a:t>-Султане, Атырау, Баку, Бишкеке, Киеве, Ташкенте, Тбилиси, Ереване и Минске) работают 5500 специалистов.</a:t>
            </a:r>
          </a:p>
          <a:p>
            <a:pPr marL="12700" marR="19050" algn="just">
              <a:lnSpc>
                <a:spcPct val="104200"/>
              </a:lnSpc>
              <a:spcBef>
                <a:spcPts val="495"/>
              </a:spcBef>
            </a:pPr>
            <a:r>
              <a:rPr lang="ru-RU" sz="800" kern="0" dirty="0">
                <a:solidFill>
                  <a:schemeClr val="bg1"/>
                </a:solidFill>
                <a:cs typeface="Arial"/>
              </a:rPr>
              <a:t>Название EY относится к глобальной организации и (или) к одной или нескольким компаниям, входящим в состав </a:t>
            </a:r>
            <a:r>
              <a:rPr lang="ru-RU" sz="800" kern="0" dirty="0" err="1">
                <a:solidFill>
                  <a:schemeClr val="bg1"/>
                </a:solidFill>
                <a:cs typeface="Arial"/>
              </a:rPr>
              <a:t>Ernst</a:t>
            </a:r>
            <a:r>
              <a:rPr lang="ru-RU" sz="800" kern="0" dirty="0">
                <a:solidFill>
                  <a:schemeClr val="bg1"/>
                </a:solidFill>
                <a:cs typeface="Arial"/>
              </a:rPr>
              <a:t> &amp; </a:t>
            </a:r>
            <a:r>
              <a:rPr lang="ru-RU" sz="800" kern="0" dirty="0" err="1">
                <a:solidFill>
                  <a:schemeClr val="bg1"/>
                </a:solidFill>
                <a:cs typeface="Arial"/>
              </a:rPr>
              <a:t>Young</a:t>
            </a:r>
            <a:r>
              <a:rPr lang="ru-RU" sz="800" kern="0" dirty="0">
                <a:solidFill>
                  <a:schemeClr val="bg1"/>
                </a:solidFill>
                <a:cs typeface="Arial"/>
              </a:rPr>
              <a:t> Global </a:t>
            </a:r>
            <a:r>
              <a:rPr lang="ru-RU" sz="800" kern="0" dirty="0" err="1">
                <a:solidFill>
                  <a:schemeClr val="bg1"/>
                </a:solidFill>
                <a:cs typeface="Arial"/>
              </a:rPr>
              <a:t>Limited</a:t>
            </a:r>
            <a:r>
              <a:rPr lang="ru-RU" sz="800" kern="0" dirty="0">
                <a:solidFill>
                  <a:schemeClr val="bg1"/>
                </a:solidFill>
                <a:cs typeface="Arial"/>
              </a:rPr>
              <a:t>, каждая из которых является отдельным юридическим лицом. </a:t>
            </a:r>
            <a:r>
              <a:rPr lang="ru-RU" sz="800" kern="0" dirty="0" err="1">
                <a:solidFill>
                  <a:schemeClr val="bg1"/>
                </a:solidFill>
                <a:cs typeface="Arial"/>
              </a:rPr>
              <a:t>Ernst</a:t>
            </a:r>
            <a:r>
              <a:rPr lang="ru-RU" sz="800" kern="0" dirty="0">
                <a:solidFill>
                  <a:schemeClr val="bg1"/>
                </a:solidFill>
                <a:cs typeface="Arial"/>
              </a:rPr>
              <a:t> &amp; </a:t>
            </a:r>
            <a:r>
              <a:rPr lang="ru-RU" sz="800" kern="0" dirty="0" err="1">
                <a:solidFill>
                  <a:schemeClr val="bg1"/>
                </a:solidFill>
                <a:cs typeface="Arial"/>
              </a:rPr>
              <a:t>Young</a:t>
            </a:r>
            <a:r>
              <a:rPr lang="ru-RU" sz="800" kern="0" dirty="0">
                <a:solidFill>
                  <a:schemeClr val="bg1"/>
                </a:solidFill>
                <a:cs typeface="Arial"/>
              </a:rPr>
              <a:t> Global </a:t>
            </a:r>
            <a:r>
              <a:rPr lang="ru-RU" sz="800" kern="0" dirty="0" err="1">
                <a:solidFill>
                  <a:schemeClr val="bg1"/>
                </a:solidFill>
                <a:cs typeface="Arial"/>
              </a:rPr>
              <a:t>Limited</a:t>
            </a:r>
            <a:r>
              <a:rPr lang="ru-RU" sz="800" kern="0" dirty="0">
                <a:solidFill>
                  <a:schemeClr val="bg1"/>
                </a:solidFill>
                <a:cs typeface="Arial"/>
              </a:rPr>
              <a:t> − юридическое лицо, созданное в соответствии с законодательством Великобритании, − является компанией, ограниченной гарантиями ее участников, и не оказывает услуг клиентам. </a:t>
            </a:r>
          </a:p>
          <a:p>
            <a:pPr marL="12700" marR="19050" algn="just">
              <a:lnSpc>
                <a:spcPct val="104200"/>
              </a:lnSpc>
              <a:spcBef>
                <a:spcPts val="495"/>
              </a:spcBef>
            </a:pPr>
            <a:r>
              <a:rPr lang="ru-RU" sz="800" kern="0" dirty="0">
                <a:solidFill>
                  <a:schemeClr val="bg1"/>
                </a:solidFill>
                <a:cs typeface="Arial"/>
              </a:rPr>
              <a:t>Более подробная информация представлена на нашем сайте: ey.com.</a:t>
            </a:r>
          </a:p>
          <a:p>
            <a:pPr marL="12700" marR="19050" algn="just">
              <a:lnSpc>
                <a:spcPct val="104200"/>
              </a:lnSpc>
              <a:spcBef>
                <a:spcPts val="495"/>
              </a:spcBef>
            </a:pPr>
            <a:endParaRPr lang="en-US" sz="800" spc="-35" dirty="0">
              <a:solidFill>
                <a:schemeClr val="bg1"/>
              </a:solidFill>
              <a:cs typeface="EYInterstate-Light"/>
            </a:endParaRPr>
          </a:p>
          <a:p>
            <a:pPr marL="12700" marR="19050">
              <a:lnSpc>
                <a:spcPct val="104200"/>
              </a:lnSpc>
              <a:spcBef>
                <a:spcPts val="495"/>
              </a:spcBef>
            </a:pPr>
            <a:r>
              <a:rPr lang="en-US" sz="800" dirty="0">
                <a:solidFill>
                  <a:schemeClr val="bg1"/>
                </a:solidFill>
                <a:cs typeface="EYInterstate-Light"/>
              </a:rPr>
              <a:t>©</a:t>
            </a:r>
            <a:r>
              <a:rPr lang="en-US" sz="800" spc="-45" dirty="0">
                <a:solidFill>
                  <a:schemeClr val="bg1"/>
                </a:solidFill>
                <a:cs typeface="EYInterstate-Light"/>
              </a:rPr>
              <a:t> </a:t>
            </a:r>
            <a:r>
              <a:rPr lang="en-US" sz="800" spc="-15" dirty="0">
                <a:solidFill>
                  <a:schemeClr val="bg1"/>
                </a:solidFill>
                <a:cs typeface="EYInterstate-Light"/>
              </a:rPr>
              <a:t>20</a:t>
            </a:r>
            <a:r>
              <a:rPr lang="ru-RU" sz="800" spc="-15" dirty="0">
                <a:solidFill>
                  <a:schemeClr val="bg1"/>
                </a:solidFill>
                <a:cs typeface="EYInterstate-Light"/>
              </a:rPr>
              <a:t>21</a:t>
            </a:r>
            <a:r>
              <a:rPr lang="en-US" sz="800" spc="-45" dirty="0">
                <a:solidFill>
                  <a:schemeClr val="bg1"/>
                </a:solidFill>
                <a:cs typeface="EYInterstate-Light"/>
              </a:rPr>
              <a:t> </a:t>
            </a:r>
            <a:r>
              <a:rPr lang="ru-RU" sz="800" spc="-20" dirty="0">
                <a:solidFill>
                  <a:schemeClr val="bg1"/>
                </a:solidFill>
                <a:cs typeface="EYInterstate-Light"/>
              </a:rPr>
              <a:t>ТОО «Эрнст энд Янг Казахстан»</a:t>
            </a:r>
            <a:r>
              <a:rPr lang="en-US" sz="800" spc="-55" dirty="0">
                <a:solidFill>
                  <a:schemeClr val="bg1"/>
                </a:solidFill>
                <a:cs typeface="EYInterstate-Light"/>
              </a:rPr>
              <a:t>.  </a:t>
            </a:r>
            <a:br>
              <a:rPr lang="en-US" sz="800" spc="-55" dirty="0">
                <a:solidFill>
                  <a:schemeClr val="bg1"/>
                </a:solidFill>
                <a:cs typeface="EYInterstate-Light"/>
              </a:rPr>
            </a:br>
            <a:r>
              <a:rPr lang="ru-RU" sz="800" spc="-15" dirty="0">
                <a:solidFill>
                  <a:schemeClr val="bg1"/>
                </a:solidFill>
                <a:cs typeface="EYInterstate-Light"/>
              </a:rPr>
              <a:t>Все права защищены</a:t>
            </a:r>
            <a:r>
              <a:rPr lang="en-US" sz="800" spc="-25" dirty="0">
                <a:solidFill>
                  <a:schemeClr val="bg1"/>
                </a:solidFill>
                <a:cs typeface="EYInterstate-Light"/>
              </a:rPr>
              <a:t>.</a:t>
            </a:r>
            <a:endParaRPr lang="en-US" sz="800" dirty="0">
              <a:solidFill>
                <a:schemeClr val="bg1"/>
              </a:solidFill>
              <a:cs typeface="EYInterstate-Light"/>
            </a:endParaRPr>
          </a:p>
          <a:p>
            <a:pPr marL="12700" marR="19050" algn="just">
              <a:lnSpc>
                <a:spcPct val="104200"/>
              </a:lnSpc>
              <a:spcBef>
                <a:spcPts val="495"/>
              </a:spcBef>
            </a:pPr>
            <a:endParaRPr lang="ru-RU" sz="800" dirty="0">
              <a:solidFill>
                <a:schemeClr val="bg1"/>
              </a:solidFill>
              <a:latin typeface="EYInterstate-Light"/>
              <a:cs typeface="EYInterstate-Light"/>
            </a:endParaRPr>
          </a:p>
          <a:p>
            <a:pPr marL="12700" marR="19050" algn="just">
              <a:lnSpc>
                <a:spcPct val="104200"/>
              </a:lnSpc>
              <a:spcBef>
                <a:spcPts val="495"/>
              </a:spcBef>
            </a:pPr>
            <a:r>
              <a:rPr lang="ru-RU" sz="800" kern="0" dirty="0">
                <a:solidFill>
                  <a:schemeClr val="bg1"/>
                </a:solidFill>
                <a:cs typeface="Arial"/>
              </a:rPr>
              <a:t>Информация, представленная в данном документе, является результатом оценочного исследования, носит информационный характер и не должна рассматриваться как профессиональные рекомендации в области управления, коммерческой, юридической, нормативно-правовой или иной деятельности, бухгалтерской отчетности или налогообложения. EY не несет ответственности за использование и трактовку содержания настоящего документа. По любым конкретным вопросам следует обращаться к специалисту</a:t>
            </a:r>
            <a:r>
              <a:rPr lang="en-US" sz="800" kern="0" dirty="0">
                <a:solidFill>
                  <a:schemeClr val="bg1"/>
                </a:solidFill>
                <a:cs typeface="Arial"/>
              </a:rPr>
              <a:t> EY</a:t>
            </a:r>
            <a:r>
              <a:rPr lang="ru-RU" sz="800" kern="0" dirty="0">
                <a:solidFill>
                  <a:schemeClr val="bg1"/>
                </a:solidFill>
                <a:cs typeface="Arial"/>
              </a:rPr>
              <a:t> соответствующего направления.</a:t>
            </a:r>
          </a:p>
          <a:p>
            <a:pPr marL="12700" marR="19050" algn="just">
              <a:lnSpc>
                <a:spcPct val="104200"/>
              </a:lnSpc>
              <a:spcBef>
                <a:spcPts val="495"/>
              </a:spcBef>
            </a:pPr>
            <a:r>
              <a:rPr lang="ru-RU" sz="800" kern="0" dirty="0">
                <a:solidFill>
                  <a:schemeClr val="bg1"/>
                </a:solidFill>
                <a:cs typeface="Arial"/>
              </a:rPr>
              <a:t>При использовании любой информации из данного документа ссылка на него и EY обязательна.</a:t>
            </a:r>
            <a:endParaRPr lang="en-US" sz="800" dirty="0">
              <a:solidFill>
                <a:schemeClr val="bg1"/>
              </a:solidFill>
              <a:latin typeface="EYInterstate-Light"/>
              <a:cs typeface="EYInterstate-Light"/>
            </a:endParaRPr>
          </a:p>
        </p:txBody>
      </p:sp>
    </p:spTree>
    <p:extLst>
      <p:ext uri="{BB962C8B-B14F-4D97-AF65-F5344CB8AC3E}">
        <p14:creationId xmlns:p14="http://schemas.microsoft.com/office/powerpoint/2010/main" val="11188169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D04914C-7908-4BC0-9EAD-FC7679E8B576}"/>
              </a:ext>
            </a:extLst>
          </p:cNvPr>
          <p:cNvSpPr/>
          <p:nvPr/>
        </p:nvSpPr>
        <p:spPr>
          <a:xfrm>
            <a:off x="3783434" y="369105"/>
            <a:ext cx="5360566" cy="5411935"/>
          </a:xfrm>
          <a:prstGeom prst="rect">
            <a:avLst/>
          </a:prstGeom>
          <a:solidFill>
            <a:srgbClr val="6E6E6E">
              <a:alpha val="87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99" b="0" i="0" u="none" strike="noStrike" kern="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7" name="AgendaTable">
            <a:extLst>
              <a:ext uri="{FF2B5EF4-FFF2-40B4-BE49-F238E27FC236}">
                <a16:creationId xmlns:a16="http://schemas.microsoft.com/office/drawing/2014/main" id="{1791BBD8-C9A8-4F80-A383-5C0559EAB6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5588658"/>
              </p:ext>
            </p:extLst>
          </p:nvPr>
        </p:nvGraphicFramePr>
        <p:xfrm>
          <a:off x="3971421" y="379265"/>
          <a:ext cx="4984591" cy="5284562"/>
        </p:xfrm>
        <a:graphic>
          <a:graphicData uri="http://schemas.openxmlformats.org/drawingml/2006/table">
            <a:tbl>
              <a:tblPr firstRow="1" bandRow="1"/>
              <a:tblGrid>
                <a:gridCol w="60623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3783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60308">
                <a:tc>
                  <a:txBody>
                    <a:bodyPr/>
                    <a:lstStyle/>
                    <a:p>
                      <a:pPr algn="ctr"/>
                      <a:r>
                        <a:rPr lang="ru-RU" sz="1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тр.</a:t>
                      </a:r>
                      <a:endParaRPr lang="en-US" sz="18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1" indent="0" algn="l" defTabSz="685434" rtl="0" eaLnBrk="1" latinLnBrk="0" hangingPunct="1">
                        <a:lnSpc>
                          <a:spcPct val="85000"/>
                        </a:lnSpc>
                        <a:spcAft>
                          <a:spcPts val="600"/>
                        </a:spcAft>
                        <a:buClr>
                          <a:schemeClr val="accent2"/>
                        </a:buClr>
                        <a:buSzPct val="70000"/>
                      </a:pPr>
                      <a:r>
                        <a:rPr lang="ru-RU" sz="18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              </a:t>
                      </a:r>
                      <a:r>
                        <a:rPr lang="ru-RU" sz="1800" b="1" dirty="0"/>
                        <a:t>СОДЕРЖАНИЕ</a:t>
                      </a:r>
                      <a:endParaRPr lang="en-US" sz="1800" b="1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1104227"/>
                  </a:ext>
                </a:extLst>
              </a:tr>
              <a:tr h="660308">
                <a:tc>
                  <a:txBody>
                    <a:bodyPr/>
                    <a:lstStyle>
                      <a:lvl1pPr marL="0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717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434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151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0868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3586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6303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399020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1737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ru-RU" sz="1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endParaRPr lang="en-US" sz="18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717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434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151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0868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3586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6303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399020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1737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174625" lvl="1" indent="0" algn="l" defTabSz="914400" rtl="0" eaLnBrk="1" latinLnBrk="0" hangingPunct="1">
                        <a:lnSpc>
                          <a:spcPct val="85000"/>
                        </a:lnSpc>
                        <a:spcAft>
                          <a:spcPts val="600"/>
                        </a:spcAft>
                        <a:buClr>
                          <a:schemeClr val="accent2"/>
                        </a:buClr>
                        <a:buSzPct val="70000"/>
                      </a:pPr>
                      <a:r>
                        <a:rPr lang="ru-RU" sz="1400" b="1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Текущая ситуация</a:t>
                      </a:r>
                      <a:endParaRPr lang="en-US" sz="1400" b="1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60308">
                <a:tc>
                  <a:txBody>
                    <a:bodyPr/>
                    <a:lstStyle/>
                    <a:p>
                      <a:pPr algn="ctr"/>
                      <a:r>
                        <a:rPr lang="ru-RU" sz="1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endParaRPr lang="en-US" sz="18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4625" lvl="1" indent="0" algn="l" defTabSz="914400" rtl="0" eaLnBrk="1" latinLnBrk="0" hangingPunct="1">
                        <a:lnSpc>
                          <a:spcPct val="85000"/>
                        </a:lnSpc>
                        <a:spcAft>
                          <a:spcPts val="600"/>
                        </a:spcAft>
                        <a:buClr>
                          <a:schemeClr val="accent2"/>
                        </a:buClr>
                        <a:buSzPct val="70000"/>
                      </a:pPr>
                      <a:r>
                        <a:rPr lang="ru-RU" sz="1400" b="1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Максимизация налоговых поступлений в бюджет</a:t>
                      </a:r>
                      <a:endParaRPr lang="en-US" sz="1400" b="1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0772280"/>
                  </a:ext>
                </a:extLst>
              </a:tr>
              <a:tr h="660308">
                <a:tc>
                  <a:txBody>
                    <a:bodyPr/>
                    <a:lstStyle/>
                    <a:p>
                      <a:pPr algn="ctr"/>
                      <a:r>
                        <a:rPr lang="ru-RU" sz="1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  <a:endParaRPr lang="en-US" sz="18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4625" lvl="1" indent="0" algn="l" defTabSz="914400" rtl="0" eaLnBrk="1" latinLnBrk="0" hangingPunct="1">
                        <a:lnSpc>
                          <a:spcPct val="85000"/>
                        </a:lnSpc>
                        <a:spcAft>
                          <a:spcPts val="600"/>
                        </a:spcAft>
                        <a:buClr>
                          <a:schemeClr val="accent2"/>
                        </a:buClr>
                        <a:buSzPct val="70000"/>
                      </a:pPr>
                      <a:r>
                        <a:rPr lang="ru-RU" sz="1400" b="1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эффициент налоговой нагрузки</a:t>
                      </a:r>
                      <a:endParaRPr lang="en-US" sz="1400" b="1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8493534"/>
                  </a:ext>
                </a:extLst>
              </a:tr>
              <a:tr h="660308">
                <a:tc>
                  <a:txBody>
                    <a:bodyPr/>
                    <a:lstStyle>
                      <a:lvl1pPr marL="0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717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434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151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0868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3586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6303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399020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1737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ru-RU" sz="1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endParaRPr lang="en-US" sz="18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717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434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151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0868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3586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6303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399020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1737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174625" lvl="1" indent="0" algn="l" defTabSz="914400" rtl="0" eaLnBrk="1" latinLnBrk="0" hangingPunct="1">
                        <a:lnSpc>
                          <a:spcPct val="85000"/>
                        </a:lnSpc>
                        <a:spcAft>
                          <a:spcPts val="600"/>
                        </a:spcAft>
                        <a:buClr>
                          <a:schemeClr val="accent2"/>
                        </a:buClr>
                        <a:buSzPct val="70000"/>
                      </a:pPr>
                      <a:r>
                        <a:rPr lang="ru-RU" sz="1400" b="1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ля повышения инвестиционной привлекательности отрасли требуется улучшение фискального режима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62406"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  <a:endParaRPr lang="en-US" sz="18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4625" lvl="1" indent="0" algn="l" defTabSz="914400" rtl="0" eaLnBrk="1" latinLnBrk="0" hangingPunct="1">
                        <a:lnSpc>
                          <a:spcPct val="85000"/>
                        </a:lnSpc>
                        <a:spcAft>
                          <a:spcPts val="600"/>
                        </a:spcAft>
                        <a:buClr>
                          <a:schemeClr val="accent2"/>
                        </a:buClr>
                        <a:buSzPct val="70000"/>
                      </a:pPr>
                      <a:r>
                        <a:rPr lang="ru-RU" sz="1400" b="1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инцип выбора налоговых мер стимулирования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2040804"/>
                  </a:ext>
                </a:extLst>
              </a:tr>
              <a:tr h="660308">
                <a:tc>
                  <a:txBody>
                    <a:bodyPr/>
                    <a:lstStyle>
                      <a:lvl1pPr marL="0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717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434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151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0868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3586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6303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399020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1737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ru-RU" sz="1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  <a:endParaRPr lang="en-US" sz="18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717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434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151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0868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3586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6303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399020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1737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174625" lvl="1" indent="0" algn="l" rtl="0" eaLnBrk="1" latinLnBrk="0" hangingPunct="1">
                        <a:lnSpc>
                          <a:spcPct val="85000"/>
                        </a:lnSpc>
                        <a:spcAft>
                          <a:spcPts val="600"/>
                        </a:spcAft>
                      </a:pPr>
                      <a:r>
                        <a:rPr lang="ru-RU" sz="1400" b="1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Налоговые меры стимулирования отрасли: Период геологоразведки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60308">
                <a:tc>
                  <a:txBody>
                    <a:bodyPr/>
                    <a:lstStyle>
                      <a:lvl1pPr marL="0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717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434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151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0868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3586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6303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399020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1737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914400" rtl="0" eaLnBrk="1" latinLnBrk="0" hangingPunct="1">
                        <a:lnSpc>
                          <a:spcPct val="85000"/>
                        </a:lnSpc>
                        <a:spcAft>
                          <a:spcPts val="600"/>
                        </a:spcAft>
                        <a:buClr>
                          <a:schemeClr val="accent2"/>
                        </a:buClr>
                        <a:buSzPct val="70000"/>
                      </a:pPr>
                      <a:r>
                        <a:rPr lang="ru-RU" sz="1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endParaRPr lang="en-US" sz="18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717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434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151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0868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3586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6303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399020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1737" algn="l" defTabSz="685434" rtl="0" eaLnBrk="1" latinLnBrk="0" hangingPunct="1">
                        <a:defRPr sz="134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174625" lvl="1" indent="0" algn="l" rtl="0" eaLnBrk="1" latinLnBrk="0" hangingPunct="1">
                        <a:lnSpc>
                          <a:spcPct val="85000"/>
                        </a:lnSpc>
                        <a:spcAft>
                          <a:spcPts val="600"/>
                        </a:spcAft>
                      </a:pPr>
                      <a:r>
                        <a:rPr lang="ru-RU" sz="1400" b="1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Налоговые меры стимулирования отрасли: Период добычи</a:t>
                      </a:r>
                      <a:r>
                        <a:rPr lang="en-US" sz="1400" b="1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ru-RU" sz="1400" b="1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ереработки </a:t>
                      </a:r>
                      <a:endParaRPr lang="en-US" sz="1400" b="1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35657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505957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feld 19">
            <a:extLst>
              <a:ext uri="{FF2B5EF4-FFF2-40B4-BE49-F238E27FC236}">
                <a16:creationId xmlns:a16="http://schemas.microsoft.com/office/drawing/2014/main" id="{4C400AC0-0497-408C-A022-5CB9639FC06D}"/>
              </a:ext>
            </a:extLst>
          </p:cNvPr>
          <p:cNvSpPr txBox="1"/>
          <p:nvPr/>
        </p:nvSpPr>
        <p:spPr bwMode="gray">
          <a:xfrm>
            <a:off x="460635" y="2932841"/>
            <a:ext cx="2705394" cy="150810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defTabSz="685434">
              <a:buClr>
                <a:schemeClr val="tx2"/>
              </a:buClr>
            </a:pPr>
            <a:r>
              <a:rPr lang="ru-RU" sz="1400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ловый приток прямых иностранных инвестиций в горнорудный сектор (без учета угля) сократился с $5.0 млрд в 2017</a:t>
            </a:r>
            <a:r>
              <a:rPr lang="en-US" sz="1400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ду до $4.2 млрд</a:t>
            </a:r>
            <a:r>
              <a:rPr lang="en-US" sz="1400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 2019 году (в три раза меньше, чем в нефтегазовую отрасль). </a:t>
            </a:r>
            <a:endParaRPr lang="en-US" sz="1400" dirty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21C0F8E-5B46-47C8-80CA-BE4F14000BC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7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21C0F8E-5B46-47C8-80CA-BE4F14000BC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33B51D1-A8DF-4FAF-BFAA-955E812F519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/>
            <a:endParaRPr lang="ru-RU" sz="2400" b="1" dirty="0">
              <a:solidFill>
                <a:schemeClr val="tx1"/>
              </a:solidFill>
              <a:latin typeface="EYInterstate" panose="02000503020000020004" pitchFamily="2" charset="0"/>
              <a:ea typeface="+mj-ea"/>
              <a:cs typeface="Arial" panose="020B0604020202020204" pitchFamily="34" charset="0"/>
              <a:sym typeface="EYInterstate" panose="02000503020000020004" pitchFamily="2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B8AA850-D6E4-4FF0-BF2B-789BE76C9C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dirty="0">
                <a:latin typeface="Arial" panose="020B0604020202020204" pitchFamily="34" charset="0"/>
              </a:rPr>
              <a:t>Текущая ситуация</a:t>
            </a:r>
            <a:r>
              <a:rPr lang="en-US" sz="2000" dirty="0">
                <a:latin typeface="Arial" panose="020B0604020202020204" pitchFamily="34" charset="0"/>
              </a:rPr>
              <a:t> </a:t>
            </a:r>
            <a:endParaRPr lang="en-US" sz="20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8AD2F0-4773-4946-973B-09E6C4DD08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3</a:t>
            </a:fld>
            <a:endParaRPr dirty="0"/>
          </a:p>
        </p:txBody>
      </p:sp>
      <p:sp>
        <p:nvSpPr>
          <p:cNvPr id="18" name="Textfeld 50">
            <a:extLst>
              <a:ext uri="{FF2B5EF4-FFF2-40B4-BE49-F238E27FC236}">
                <a16:creationId xmlns:a16="http://schemas.microsoft.com/office/drawing/2014/main" id="{F8B9B9C6-6445-48D6-AF02-40DD4BF33DF1}"/>
              </a:ext>
            </a:extLst>
          </p:cNvPr>
          <p:cNvSpPr txBox="1"/>
          <p:nvPr/>
        </p:nvSpPr>
        <p:spPr bwMode="gray">
          <a:xfrm>
            <a:off x="436992" y="1393957"/>
            <a:ext cx="2409423" cy="102335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fontAlgn="base">
              <a:lnSpc>
                <a:spcPct val="95000"/>
              </a:lnSpc>
              <a:spcBef>
                <a:spcPct val="0"/>
              </a:spcBef>
              <a:buClr>
                <a:srgbClr val="969696"/>
              </a:buClr>
              <a:tabLst>
                <a:tab pos="180975" algn="l"/>
              </a:tabLst>
              <a:defRPr/>
            </a:pPr>
            <a:r>
              <a:rPr lang="ru-RU" sz="1400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черпание сырьевой базы</a:t>
            </a:r>
            <a:r>
              <a:rPr lang="en-US" sz="1400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ru-RU" sz="1400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За последние 20 лет в Казахстане практически не было найдено новых месторождений</a:t>
            </a:r>
            <a:endParaRPr lang="ru-RU" sz="1400" dirty="0">
              <a:solidFill>
                <a:srgbClr val="646464"/>
              </a:solidFill>
              <a:latin typeface="Arial" panose="020B0604020202020204" pitchFamily="34" charset="0"/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829CA9D3-81AE-445D-811E-9376D76597A2}"/>
              </a:ext>
            </a:extLst>
          </p:cNvPr>
          <p:cNvSpPr txBox="1"/>
          <p:nvPr/>
        </p:nvSpPr>
        <p:spPr bwMode="gray">
          <a:xfrm>
            <a:off x="6271050" y="2935337"/>
            <a:ext cx="2979184" cy="1637371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fontAlgn="base">
              <a:lnSpc>
                <a:spcPct val="95000"/>
              </a:lnSpc>
              <a:spcBef>
                <a:spcPct val="0"/>
              </a:spcBef>
              <a:spcAft>
                <a:spcPts val="800"/>
              </a:spcAft>
              <a:buClr>
                <a:srgbClr val="969696"/>
              </a:buClr>
              <a:tabLst>
                <a:tab pos="180975" algn="l"/>
              </a:tabLst>
              <a:defRPr/>
            </a:pPr>
            <a:r>
              <a:rPr lang="ru-RU" sz="1400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ли не будут предприняты немедленные и кардинальные меры налогового характера, ситуация может привести к сокращению выпуска продукции, уменьшению налоговых поступлений в бюджет, сокращению рабочих мест</a:t>
            </a:r>
            <a:r>
              <a:rPr lang="ru-RU" sz="1400" dirty="0">
                <a:solidFill>
                  <a:srgbClr val="646464"/>
                </a:solidFill>
                <a:latin typeface="Arial" panose="020B0604020202020204" pitchFamily="34" charset="0"/>
              </a:rPr>
              <a:t>.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8A1C43F2-0195-40D9-9A93-1D4F28027461}"/>
              </a:ext>
            </a:extLst>
          </p:cNvPr>
          <p:cNvSpPr txBox="1"/>
          <p:nvPr/>
        </p:nvSpPr>
        <p:spPr bwMode="gray">
          <a:xfrm>
            <a:off x="6264895" y="1388774"/>
            <a:ext cx="3028157" cy="91563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lvl="0" defTabSz="685434">
              <a:lnSpc>
                <a:spcPct val="85000"/>
              </a:lnSpc>
              <a:spcAft>
                <a:spcPts val="600"/>
              </a:spcAft>
              <a:buClr>
                <a:schemeClr val="tx2"/>
              </a:buClr>
              <a:defRPr/>
            </a:pPr>
            <a:r>
              <a:rPr lang="ru-RU" sz="1400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ществующий режим налогообложения препятствует инвестициям в новые проекты, поиску, изучению и разработке новых месторождений. </a:t>
            </a:r>
            <a:endParaRPr lang="ru" sz="1400" dirty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4CD1B96-676F-4D8A-ADA0-D4D9E1A5C9A0}"/>
              </a:ext>
            </a:extLst>
          </p:cNvPr>
          <p:cNvGrpSpPr/>
          <p:nvPr/>
        </p:nvGrpSpPr>
        <p:grpSpPr>
          <a:xfrm>
            <a:off x="2979324" y="1319839"/>
            <a:ext cx="3221157" cy="2992615"/>
            <a:chOff x="2204887" y="1432679"/>
            <a:chExt cx="4734226" cy="4732625"/>
          </a:xfrm>
        </p:grpSpPr>
        <p:sp>
          <p:nvSpPr>
            <p:cNvPr id="23" name="Ellipse 44">
              <a:extLst>
                <a:ext uri="{FF2B5EF4-FFF2-40B4-BE49-F238E27FC236}">
                  <a16:creationId xmlns:a16="http://schemas.microsoft.com/office/drawing/2014/main" id="{97688D8E-CFC9-46A3-B321-202547E53592}"/>
                </a:ext>
              </a:extLst>
            </p:cNvPr>
            <p:cNvSpPr/>
            <p:nvPr/>
          </p:nvSpPr>
          <p:spPr bwMode="gray">
            <a:xfrm>
              <a:off x="2606414" y="1834292"/>
              <a:ext cx="3931174" cy="3931174"/>
            </a:xfrm>
            <a:prstGeom prst="ellipse">
              <a:avLst/>
            </a:prstGeom>
            <a:solidFill>
              <a:srgbClr val="F0F0F0"/>
            </a:solidFill>
            <a:ln w="19050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108000" tIns="108000" rIns="144000" bIns="72000" anchor="ctr" anchorCtr="0"/>
            <a:lstStyle/>
            <a:p>
              <a:pPr algn="ctr" fontAlgn="base">
                <a:lnSpc>
                  <a:spcPct val="95000"/>
                </a:lnSpc>
                <a:spcBef>
                  <a:spcPct val="0"/>
                </a:spcBef>
                <a:spcAft>
                  <a:spcPts val="800"/>
                </a:spcAft>
                <a:buClr>
                  <a:srgbClr val="969696"/>
                </a:buClr>
                <a:defRPr/>
              </a:pPr>
              <a:endParaRPr lang="de-DE" sz="1600" noProof="1">
                <a:solidFill>
                  <a:srgbClr val="646464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4" name="Ellipse 45">
              <a:extLst>
                <a:ext uri="{FF2B5EF4-FFF2-40B4-BE49-F238E27FC236}">
                  <a16:creationId xmlns:a16="http://schemas.microsoft.com/office/drawing/2014/main" id="{5C2B23E4-509A-4B1E-9DF3-73E3D34065AD}"/>
                </a:ext>
              </a:extLst>
            </p:cNvPr>
            <p:cNvSpPr/>
            <p:nvPr/>
          </p:nvSpPr>
          <p:spPr bwMode="gray">
            <a:xfrm>
              <a:off x="2999275" y="2227153"/>
              <a:ext cx="3145452" cy="3145452"/>
            </a:xfrm>
            <a:prstGeom prst="ellipse">
              <a:avLst/>
            </a:prstGeom>
            <a:solidFill>
              <a:srgbClr val="C0C0C0"/>
            </a:solidFill>
            <a:ln w="19050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108000" tIns="108000" rIns="144000" bIns="72000" anchor="ctr" anchorCtr="0"/>
            <a:lstStyle/>
            <a:p>
              <a:pPr algn="ctr" fontAlgn="base">
                <a:lnSpc>
                  <a:spcPct val="95000"/>
                </a:lnSpc>
                <a:spcBef>
                  <a:spcPct val="0"/>
                </a:spcBef>
                <a:spcAft>
                  <a:spcPts val="800"/>
                </a:spcAft>
                <a:buClr>
                  <a:srgbClr val="969696"/>
                </a:buClr>
                <a:defRPr/>
              </a:pPr>
              <a:endParaRPr lang="de-DE" sz="1600" noProof="1">
                <a:solidFill>
                  <a:srgbClr val="646464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5" name="Ellipse 46">
              <a:extLst>
                <a:ext uri="{FF2B5EF4-FFF2-40B4-BE49-F238E27FC236}">
                  <a16:creationId xmlns:a16="http://schemas.microsoft.com/office/drawing/2014/main" id="{D21B3DEF-81F8-4ED1-888D-195712F22544}"/>
                </a:ext>
              </a:extLst>
            </p:cNvPr>
            <p:cNvSpPr/>
            <p:nvPr/>
          </p:nvSpPr>
          <p:spPr bwMode="gray">
            <a:xfrm>
              <a:off x="3392457" y="2620335"/>
              <a:ext cx="2359089" cy="2359089"/>
            </a:xfrm>
            <a:prstGeom prst="ellipse">
              <a:avLst/>
            </a:prstGeom>
            <a:solidFill>
              <a:srgbClr val="999999"/>
            </a:solidFill>
            <a:ln w="19050">
              <a:solidFill>
                <a:srgbClr val="FFFFFF"/>
              </a:solidFill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72000" tIns="36000" rIns="72000" bIns="36000" anchor="ctr" anchorCtr="0"/>
            <a:lstStyle/>
            <a:p>
              <a:pPr algn="ctr" fontAlgn="base">
                <a:lnSpc>
                  <a:spcPct val="95000"/>
                </a:lnSpc>
                <a:spcBef>
                  <a:spcPct val="0"/>
                </a:spcBef>
                <a:spcAft>
                  <a:spcPts val="800"/>
                </a:spcAft>
                <a:buClr>
                  <a:srgbClr val="969696"/>
                </a:buClr>
                <a:defRPr/>
              </a:pPr>
              <a:endParaRPr lang="de-DE" sz="1600" b="1" noProof="1">
                <a:solidFill>
                  <a:srgbClr val="646464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6" name="Ellipse 47">
              <a:extLst>
                <a:ext uri="{FF2B5EF4-FFF2-40B4-BE49-F238E27FC236}">
                  <a16:creationId xmlns:a16="http://schemas.microsoft.com/office/drawing/2014/main" id="{7349BC21-F4C6-4810-ADCB-DE7A7C3EF272}"/>
                </a:ext>
              </a:extLst>
            </p:cNvPr>
            <p:cNvSpPr/>
            <p:nvPr/>
          </p:nvSpPr>
          <p:spPr bwMode="gray">
            <a:xfrm>
              <a:off x="3785638" y="3013516"/>
              <a:ext cx="1572726" cy="1572726"/>
            </a:xfrm>
            <a:prstGeom prst="ellipse">
              <a:avLst/>
            </a:prstGeom>
            <a:solidFill>
              <a:srgbClr val="808080"/>
            </a:solidFill>
            <a:ln w="19050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72000" tIns="36000" rIns="72000" bIns="36000" anchor="ctr" anchorCtr="0"/>
            <a:lstStyle/>
            <a:p>
              <a:pPr algn="ctr" fontAlgn="base">
                <a:lnSpc>
                  <a:spcPct val="95000"/>
                </a:lnSpc>
                <a:spcBef>
                  <a:spcPct val="0"/>
                </a:spcBef>
                <a:spcAft>
                  <a:spcPts val="800"/>
                </a:spcAft>
                <a:buClr>
                  <a:srgbClr val="969696"/>
                </a:buClr>
                <a:defRPr/>
              </a:pPr>
              <a:endParaRPr lang="de-DE" sz="1600" b="1" noProof="1">
                <a:solidFill>
                  <a:srgbClr val="646464"/>
                </a:solidFill>
                <a:cs typeface="Arial" panose="020B0604020202020204" pitchFamily="34" charset="0"/>
              </a:endParaRPr>
            </a:p>
          </p:txBody>
        </p:sp>
        <p:cxnSp>
          <p:nvCxnSpPr>
            <p:cNvPr id="27" name="Gerade Verbindung mit Pfeil 52">
              <a:extLst>
                <a:ext uri="{FF2B5EF4-FFF2-40B4-BE49-F238E27FC236}">
                  <a16:creationId xmlns:a16="http://schemas.microsoft.com/office/drawing/2014/main" id="{B9776FB5-C476-4A10-9A14-6E65CC8B465D}"/>
                </a:ext>
              </a:extLst>
            </p:cNvPr>
            <p:cNvCxnSpPr/>
            <p:nvPr/>
          </p:nvCxnSpPr>
          <p:spPr bwMode="gray">
            <a:xfrm rot="5400000" flipH="1" flipV="1">
              <a:off x="2205689" y="3798107"/>
              <a:ext cx="4732625" cy="1770"/>
            </a:xfrm>
            <a:prstGeom prst="straightConnector1">
              <a:avLst/>
            </a:prstGeom>
            <a:ln>
              <a:solidFill>
                <a:srgbClr val="808080"/>
              </a:solidFill>
              <a:headEnd type="triangle"/>
              <a:tailEnd type="triangle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</p:cxnSp>
        <p:cxnSp>
          <p:nvCxnSpPr>
            <p:cNvPr id="28" name="Gerade Verbindung mit Pfeil 53">
              <a:extLst>
                <a:ext uri="{FF2B5EF4-FFF2-40B4-BE49-F238E27FC236}">
                  <a16:creationId xmlns:a16="http://schemas.microsoft.com/office/drawing/2014/main" id="{1066A623-A62B-4717-A6DA-F4FF1CD4F22E}"/>
                </a:ext>
              </a:extLst>
            </p:cNvPr>
            <p:cNvCxnSpPr/>
            <p:nvPr/>
          </p:nvCxnSpPr>
          <p:spPr bwMode="gray">
            <a:xfrm>
              <a:off x="2204887" y="3802094"/>
              <a:ext cx="4734226" cy="2"/>
            </a:xfrm>
            <a:prstGeom prst="straightConnector1">
              <a:avLst/>
            </a:prstGeom>
            <a:ln>
              <a:solidFill>
                <a:srgbClr val="808080"/>
              </a:solidFill>
              <a:headEnd type="triangle"/>
              <a:tailEnd type="triangle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</p:cxnSp>
        <p:sp>
          <p:nvSpPr>
            <p:cNvPr id="29" name="Ellipse 54">
              <a:extLst>
                <a:ext uri="{FF2B5EF4-FFF2-40B4-BE49-F238E27FC236}">
                  <a16:creationId xmlns:a16="http://schemas.microsoft.com/office/drawing/2014/main" id="{FB0D944C-5ADE-460E-B4B8-973740FDFD41}"/>
                </a:ext>
              </a:extLst>
            </p:cNvPr>
            <p:cNvSpPr/>
            <p:nvPr/>
          </p:nvSpPr>
          <p:spPr bwMode="gray">
            <a:xfrm>
              <a:off x="4090764" y="3318643"/>
              <a:ext cx="962474" cy="962473"/>
            </a:xfrm>
            <a:prstGeom prst="ellipse">
              <a:avLst/>
            </a:prstGeom>
            <a:solidFill>
              <a:srgbClr val="FFE600"/>
            </a:solidFill>
            <a:ln w="19050">
              <a:solidFill>
                <a:srgbClr val="FFFFFF"/>
              </a:solidFill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144000" tIns="108000" rIns="72000" bIns="72000"/>
            <a:lstStyle/>
            <a:p>
              <a:pPr marL="190500" indent="-190500" algn="ctr" fontAlgn="base">
                <a:lnSpc>
                  <a:spcPct val="95000"/>
                </a:lnSpc>
                <a:spcBef>
                  <a:spcPct val="0"/>
                </a:spcBef>
                <a:spcAft>
                  <a:spcPts val="8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endParaRPr lang="de-DE" sz="1600" b="1" noProof="1">
                <a:solidFill>
                  <a:srgbClr val="646464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0" name="Textfeld 55">
              <a:extLst>
                <a:ext uri="{FF2B5EF4-FFF2-40B4-BE49-F238E27FC236}">
                  <a16:creationId xmlns:a16="http://schemas.microsoft.com/office/drawing/2014/main" id="{E2901302-80A2-45E5-9A65-445D77FEF57A}"/>
                </a:ext>
              </a:extLst>
            </p:cNvPr>
            <p:cNvSpPr txBox="1"/>
            <p:nvPr/>
          </p:nvSpPr>
          <p:spPr bwMode="gray">
            <a:xfrm>
              <a:off x="4611402" y="3651866"/>
              <a:ext cx="72" cy="246145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400" b="1" noProof="1">
                <a:solidFill>
                  <a:schemeClr val="bg1"/>
                </a:solidFill>
                <a:latin typeface="EYInterstate" panose="02000503020000020004" pitchFamily="2" charset="0"/>
              </a:endParaRPr>
            </a:p>
          </p:txBody>
        </p:sp>
        <p:sp>
          <p:nvSpPr>
            <p:cNvPr id="31" name="Ellipse 22">
              <a:extLst>
                <a:ext uri="{FF2B5EF4-FFF2-40B4-BE49-F238E27FC236}">
                  <a16:creationId xmlns:a16="http://schemas.microsoft.com/office/drawing/2014/main" id="{D6A8E61C-3F82-4F61-BE48-E6CF39E3742B}"/>
                </a:ext>
              </a:extLst>
            </p:cNvPr>
            <p:cNvSpPr/>
            <p:nvPr/>
          </p:nvSpPr>
          <p:spPr bwMode="gray">
            <a:xfrm>
              <a:off x="2606414" y="1836508"/>
              <a:ext cx="3931174" cy="3931174"/>
            </a:xfrm>
            <a:prstGeom prst="ellipse">
              <a:avLst/>
            </a:prstGeom>
            <a:noFill/>
            <a:ln w="28575">
              <a:solidFill>
                <a:srgbClr val="808080"/>
              </a:solidFill>
              <a:prstDash val="dash"/>
              <a:round/>
              <a:headEnd/>
              <a:tailEnd/>
            </a:ln>
            <a:effectLst/>
          </p:spPr>
          <p:txBody>
            <a:bodyPr wrap="none" lIns="0" rIns="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200" b="1" dirty="0">
                <a:solidFill>
                  <a:srgbClr val="646464"/>
                </a:solidFill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B9595374-B0C1-48A8-BEA3-0DBD23C3F4E7}"/>
              </a:ext>
            </a:extLst>
          </p:cNvPr>
          <p:cNvGrpSpPr/>
          <p:nvPr/>
        </p:nvGrpSpPr>
        <p:grpSpPr>
          <a:xfrm>
            <a:off x="4266102" y="876380"/>
            <a:ext cx="665230" cy="443459"/>
            <a:chOff x="5035550" y="3189288"/>
            <a:chExt cx="1181100" cy="793750"/>
          </a:xfrm>
          <a:solidFill>
            <a:schemeClr val="bg1"/>
          </a:solidFill>
        </p:grpSpPr>
        <p:sp>
          <p:nvSpPr>
            <p:cNvPr id="57" name="Freeform 37">
              <a:extLst>
                <a:ext uri="{FF2B5EF4-FFF2-40B4-BE49-F238E27FC236}">
                  <a16:creationId xmlns:a16="http://schemas.microsoft.com/office/drawing/2014/main" id="{EB133CD5-7CCE-42AB-B6ED-21DB2C647C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5550" y="3773488"/>
              <a:ext cx="425450" cy="209550"/>
            </a:xfrm>
            <a:custGeom>
              <a:avLst/>
              <a:gdLst>
                <a:gd name="T0" fmla="*/ 268 w 268"/>
                <a:gd name="T1" fmla="*/ 132 h 132"/>
                <a:gd name="T2" fmla="*/ 0 w 268"/>
                <a:gd name="T3" fmla="*/ 132 h 132"/>
                <a:gd name="T4" fmla="*/ 64 w 268"/>
                <a:gd name="T5" fmla="*/ 0 h 132"/>
                <a:gd name="T6" fmla="*/ 206 w 268"/>
                <a:gd name="T7" fmla="*/ 0 h 132"/>
                <a:gd name="T8" fmla="*/ 268 w 268"/>
                <a:gd name="T9" fmla="*/ 132 h 132"/>
                <a:gd name="T10" fmla="*/ 30 w 268"/>
                <a:gd name="T11" fmla="*/ 114 h 132"/>
                <a:gd name="T12" fmla="*/ 240 w 268"/>
                <a:gd name="T13" fmla="*/ 114 h 132"/>
                <a:gd name="T14" fmla="*/ 194 w 268"/>
                <a:gd name="T15" fmla="*/ 18 h 132"/>
                <a:gd name="T16" fmla="*/ 74 w 268"/>
                <a:gd name="T17" fmla="*/ 18 h 132"/>
                <a:gd name="T18" fmla="*/ 30 w 268"/>
                <a:gd name="T19" fmla="*/ 11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8" h="132">
                  <a:moveTo>
                    <a:pt x="268" y="132"/>
                  </a:moveTo>
                  <a:lnTo>
                    <a:pt x="0" y="132"/>
                  </a:lnTo>
                  <a:lnTo>
                    <a:pt x="64" y="0"/>
                  </a:lnTo>
                  <a:lnTo>
                    <a:pt x="206" y="0"/>
                  </a:lnTo>
                  <a:lnTo>
                    <a:pt x="268" y="132"/>
                  </a:lnTo>
                  <a:close/>
                  <a:moveTo>
                    <a:pt x="30" y="114"/>
                  </a:moveTo>
                  <a:lnTo>
                    <a:pt x="240" y="114"/>
                  </a:lnTo>
                  <a:lnTo>
                    <a:pt x="194" y="18"/>
                  </a:lnTo>
                  <a:lnTo>
                    <a:pt x="74" y="18"/>
                  </a:lnTo>
                  <a:lnTo>
                    <a:pt x="30" y="1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8" name="Freeform 38">
              <a:extLst>
                <a:ext uri="{FF2B5EF4-FFF2-40B4-BE49-F238E27FC236}">
                  <a16:creationId xmlns:a16="http://schemas.microsoft.com/office/drawing/2014/main" id="{3AF613A3-0995-456C-8B47-1C6DD13CF0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16550" y="3773488"/>
              <a:ext cx="422275" cy="209550"/>
            </a:xfrm>
            <a:custGeom>
              <a:avLst/>
              <a:gdLst>
                <a:gd name="T0" fmla="*/ 266 w 266"/>
                <a:gd name="T1" fmla="*/ 132 h 132"/>
                <a:gd name="T2" fmla="*/ 0 w 266"/>
                <a:gd name="T3" fmla="*/ 132 h 132"/>
                <a:gd name="T4" fmla="*/ 62 w 266"/>
                <a:gd name="T5" fmla="*/ 0 h 132"/>
                <a:gd name="T6" fmla="*/ 204 w 266"/>
                <a:gd name="T7" fmla="*/ 0 h 132"/>
                <a:gd name="T8" fmla="*/ 266 w 266"/>
                <a:gd name="T9" fmla="*/ 132 h 132"/>
                <a:gd name="T10" fmla="*/ 28 w 266"/>
                <a:gd name="T11" fmla="*/ 114 h 132"/>
                <a:gd name="T12" fmla="*/ 238 w 266"/>
                <a:gd name="T13" fmla="*/ 114 h 132"/>
                <a:gd name="T14" fmla="*/ 192 w 266"/>
                <a:gd name="T15" fmla="*/ 18 h 132"/>
                <a:gd name="T16" fmla="*/ 74 w 266"/>
                <a:gd name="T17" fmla="*/ 18 h 132"/>
                <a:gd name="T18" fmla="*/ 28 w 266"/>
                <a:gd name="T19" fmla="*/ 11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132">
                  <a:moveTo>
                    <a:pt x="266" y="132"/>
                  </a:moveTo>
                  <a:lnTo>
                    <a:pt x="0" y="132"/>
                  </a:lnTo>
                  <a:lnTo>
                    <a:pt x="62" y="0"/>
                  </a:lnTo>
                  <a:lnTo>
                    <a:pt x="204" y="0"/>
                  </a:lnTo>
                  <a:lnTo>
                    <a:pt x="266" y="132"/>
                  </a:lnTo>
                  <a:close/>
                  <a:moveTo>
                    <a:pt x="28" y="114"/>
                  </a:moveTo>
                  <a:lnTo>
                    <a:pt x="238" y="114"/>
                  </a:lnTo>
                  <a:lnTo>
                    <a:pt x="192" y="18"/>
                  </a:lnTo>
                  <a:lnTo>
                    <a:pt x="74" y="18"/>
                  </a:lnTo>
                  <a:lnTo>
                    <a:pt x="28" y="1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9" name="Freeform 39">
              <a:extLst>
                <a:ext uri="{FF2B5EF4-FFF2-40B4-BE49-F238E27FC236}">
                  <a16:creationId xmlns:a16="http://schemas.microsoft.com/office/drawing/2014/main" id="{80FA0DFA-1B62-4680-BD63-0B9188CEA8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4375" y="3773488"/>
              <a:ext cx="422275" cy="209550"/>
            </a:xfrm>
            <a:custGeom>
              <a:avLst/>
              <a:gdLst>
                <a:gd name="T0" fmla="*/ 266 w 266"/>
                <a:gd name="T1" fmla="*/ 132 h 132"/>
                <a:gd name="T2" fmla="*/ 0 w 266"/>
                <a:gd name="T3" fmla="*/ 132 h 132"/>
                <a:gd name="T4" fmla="*/ 62 w 266"/>
                <a:gd name="T5" fmla="*/ 0 h 132"/>
                <a:gd name="T6" fmla="*/ 204 w 266"/>
                <a:gd name="T7" fmla="*/ 0 h 132"/>
                <a:gd name="T8" fmla="*/ 266 w 266"/>
                <a:gd name="T9" fmla="*/ 132 h 132"/>
                <a:gd name="T10" fmla="*/ 28 w 266"/>
                <a:gd name="T11" fmla="*/ 114 h 132"/>
                <a:gd name="T12" fmla="*/ 238 w 266"/>
                <a:gd name="T13" fmla="*/ 114 h 132"/>
                <a:gd name="T14" fmla="*/ 192 w 266"/>
                <a:gd name="T15" fmla="*/ 18 h 132"/>
                <a:gd name="T16" fmla="*/ 74 w 266"/>
                <a:gd name="T17" fmla="*/ 18 h 132"/>
                <a:gd name="T18" fmla="*/ 28 w 266"/>
                <a:gd name="T19" fmla="*/ 11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132">
                  <a:moveTo>
                    <a:pt x="266" y="132"/>
                  </a:moveTo>
                  <a:lnTo>
                    <a:pt x="0" y="132"/>
                  </a:lnTo>
                  <a:lnTo>
                    <a:pt x="62" y="0"/>
                  </a:lnTo>
                  <a:lnTo>
                    <a:pt x="204" y="0"/>
                  </a:lnTo>
                  <a:lnTo>
                    <a:pt x="266" y="132"/>
                  </a:lnTo>
                  <a:close/>
                  <a:moveTo>
                    <a:pt x="28" y="114"/>
                  </a:moveTo>
                  <a:lnTo>
                    <a:pt x="238" y="114"/>
                  </a:lnTo>
                  <a:lnTo>
                    <a:pt x="192" y="18"/>
                  </a:lnTo>
                  <a:lnTo>
                    <a:pt x="74" y="18"/>
                  </a:lnTo>
                  <a:lnTo>
                    <a:pt x="28" y="1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0" name="Freeform 40">
              <a:extLst>
                <a:ext uri="{FF2B5EF4-FFF2-40B4-BE49-F238E27FC236}">
                  <a16:creationId xmlns:a16="http://schemas.microsoft.com/office/drawing/2014/main" id="{BCED1E67-00E2-4AD3-8571-F24BFEA662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26050" y="3595688"/>
              <a:ext cx="422275" cy="206375"/>
            </a:xfrm>
            <a:custGeom>
              <a:avLst/>
              <a:gdLst>
                <a:gd name="T0" fmla="*/ 266 w 266"/>
                <a:gd name="T1" fmla="*/ 130 h 130"/>
                <a:gd name="T2" fmla="*/ 0 w 266"/>
                <a:gd name="T3" fmla="*/ 130 h 130"/>
                <a:gd name="T4" fmla="*/ 62 w 266"/>
                <a:gd name="T5" fmla="*/ 0 h 130"/>
                <a:gd name="T6" fmla="*/ 204 w 266"/>
                <a:gd name="T7" fmla="*/ 0 h 130"/>
                <a:gd name="T8" fmla="*/ 266 w 266"/>
                <a:gd name="T9" fmla="*/ 130 h 130"/>
                <a:gd name="T10" fmla="*/ 28 w 266"/>
                <a:gd name="T11" fmla="*/ 112 h 130"/>
                <a:gd name="T12" fmla="*/ 238 w 266"/>
                <a:gd name="T13" fmla="*/ 112 h 130"/>
                <a:gd name="T14" fmla="*/ 192 w 266"/>
                <a:gd name="T15" fmla="*/ 18 h 130"/>
                <a:gd name="T16" fmla="*/ 74 w 266"/>
                <a:gd name="T17" fmla="*/ 18 h 130"/>
                <a:gd name="T18" fmla="*/ 28 w 266"/>
                <a:gd name="T19" fmla="*/ 112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130">
                  <a:moveTo>
                    <a:pt x="266" y="130"/>
                  </a:moveTo>
                  <a:lnTo>
                    <a:pt x="0" y="130"/>
                  </a:lnTo>
                  <a:lnTo>
                    <a:pt x="62" y="0"/>
                  </a:lnTo>
                  <a:lnTo>
                    <a:pt x="204" y="0"/>
                  </a:lnTo>
                  <a:lnTo>
                    <a:pt x="266" y="130"/>
                  </a:lnTo>
                  <a:close/>
                  <a:moveTo>
                    <a:pt x="28" y="112"/>
                  </a:moveTo>
                  <a:lnTo>
                    <a:pt x="238" y="112"/>
                  </a:lnTo>
                  <a:lnTo>
                    <a:pt x="192" y="18"/>
                  </a:lnTo>
                  <a:lnTo>
                    <a:pt x="74" y="18"/>
                  </a:lnTo>
                  <a:lnTo>
                    <a:pt x="28" y="1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1" name="Freeform 41">
              <a:extLst>
                <a:ext uri="{FF2B5EF4-FFF2-40B4-BE49-F238E27FC236}">
                  <a16:creationId xmlns:a16="http://schemas.microsoft.com/office/drawing/2014/main" id="{7C0E611F-A0F9-4342-9CD3-6520A63CB3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3875" y="3595688"/>
              <a:ext cx="422275" cy="206375"/>
            </a:xfrm>
            <a:custGeom>
              <a:avLst/>
              <a:gdLst>
                <a:gd name="T0" fmla="*/ 266 w 266"/>
                <a:gd name="T1" fmla="*/ 130 h 130"/>
                <a:gd name="T2" fmla="*/ 0 w 266"/>
                <a:gd name="T3" fmla="*/ 130 h 130"/>
                <a:gd name="T4" fmla="*/ 62 w 266"/>
                <a:gd name="T5" fmla="*/ 0 h 130"/>
                <a:gd name="T6" fmla="*/ 204 w 266"/>
                <a:gd name="T7" fmla="*/ 0 h 130"/>
                <a:gd name="T8" fmla="*/ 266 w 266"/>
                <a:gd name="T9" fmla="*/ 130 h 130"/>
                <a:gd name="T10" fmla="*/ 28 w 266"/>
                <a:gd name="T11" fmla="*/ 112 h 130"/>
                <a:gd name="T12" fmla="*/ 238 w 266"/>
                <a:gd name="T13" fmla="*/ 112 h 130"/>
                <a:gd name="T14" fmla="*/ 192 w 266"/>
                <a:gd name="T15" fmla="*/ 18 h 130"/>
                <a:gd name="T16" fmla="*/ 74 w 266"/>
                <a:gd name="T17" fmla="*/ 18 h 130"/>
                <a:gd name="T18" fmla="*/ 28 w 266"/>
                <a:gd name="T19" fmla="*/ 112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130">
                  <a:moveTo>
                    <a:pt x="266" y="130"/>
                  </a:moveTo>
                  <a:lnTo>
                    <a:pt x="0" y="130"/>
                  </a:lnTo>
                  <a:lnTo>
                    <a:pt x="62" y="0"/>
                  </a:lnTo>
                  <a:lnTo>
                    <a:pt x="204" y="0"/>
                  </a:lnTo>
                  <a:lnTo>
                    <a:pt x="266" y="130"/>
                  </a:lnTo>
                  <a:close/>
                  <a:moveTo>
                    <a:pt x="28" y="112"/>
                  </a:moveTo>
                  <a:lnTo>
                    <a:pt x="238" y="112"/>
                  </a:lnTo>
                  <a:lnTo>
                    <a:pt x="192" y="18"/>
                  </a:lnTo>
                  <a:lnTo>
                    <a:pt x="74" y="18"/>
                  </a:lnTo>
                  <a:lnTo>
                    <a:pt x="28" y="1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2" name="Freeform 42">
              <a:extLst>
                <a:ext uri="{FF2B5EF4-FFF2-40B4-BE49-F238E27FC236}">
                  <a16:creationId xmlns:a16="http://schemas.microsoft.com/office/drawing/2014/main" id="{63A6F12F-B996-43F3-A0AC-8B644C83F6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16550" y="3417888"/>
              <a:ext cx="422275" cy="206375"/>
            </a:xfrm>
            <a:custGeom>
              <a:avLst/>
              <a:gdLst>
                <a:gd name="T0" fmla="*/ 266 w 266"/>
                <a:gd name="T1" fmla="*/ 130 h 130"/>
                <a:gd name="T2" fmla="*/ 0 w 266"/>
                <a:gd name="T3" fmla="*/ 130 h 130"/>
                <a:gd name="T4" fmla="*/ 62 w 266"/>
                <a:gd name="T5" fmla="*/ 0 h 130"/>
                <a:gd name="T6" fmla="*/ 204 w 266"/>
                <a:gd name="T7" fmla="*/ 0 h 130"/>
                <a:gd name="T8" fmla="*/ 266 w 266"/>
                <a:gd name="T9" fmla="*/ 130 h 130"/>
                <a:gd name="T10" fmla="*/ 28 w 266"/>
                <a:gd name="T11" fmla="*/ 112 h 130"/>
                <a:gd name="T12" fmla="*/ 238 w 266"/>
                <a:gd name="T13" fmla="*/ 112 h 130"/>
                <a:gd name="T14" fmla="*/ 192 w 266"/>
                <a:gd name="T15" fmla="*/ 18 h 130"/>
                <a:gd name="T16" fmla="*/ 74 w 266"/>
                <a:gd name="T17" fmla="*/ 18 h 130"/>
                <a:gd name="T18" fmla="*/ 28 w 266"/>
                <a:gd name="T19" fmla="*/ 112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130">
                  <a:moveTo>
                    <a:pt x="266" y="130"/>
                  </a:moveTo>
                  <a:lnTo>
                    <a:pt x="0" y="130"/>
                  </a:lnTo>
                  <a:lnTo>
                    <a:pt x="62" y="0"/>
                  </a:lnTo>
                  <a:lnTo>
                    <a:pt x="204" y="0"/>
                  </a:lnTo>
                  <a:lnTo>
                    <a:pt x="266" y="130"/>
                  </a:lnTo>
                  <a:close/>
                  <a:moveTo>
                    <a:pt x="28" y="112"/>
                  </a:moveTo>
                  <a:lnTo>
                    <a:pt x="238" y="112"/>
                  </a:lnTo>
                  <a:lnTo>
                    <a:pt x="192" y="18"/>
                  </a:lnTo>
                  <a:lnTo>
                    <a:pt x="74" y="18"/>
                  </a:lnTo>
                  <a:lnTo>
                    <a:pt x="28" y="1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3" name="Rectangle 43">
              <a:extLst>
                <a:ext uri="{FF2B5EF4-FFF2-40B4-BE49-F238E27FC236}">
                  <a16:creationId xmlns:a16="http://schemas.microsoft.com/office/drawing/2014/main" id="{44F75741-D85B-4BF3-95CA-345CFF6931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10225" y="3189288"/>
              <a:ext cx="28575" cy="920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4" name="Freeform 44">
              <a:extLst>
                <a:ext uri="{FF2B5EF4-FFF2-40B4-BE49-F238E27FC236}">
                  <a16:creationId xmlns:a16="http://schemas.microsoft.com/office/drawing/2014/main" id="{B52F0184-1581-4BB7-8E8F-4C460580B3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5350" y="3481388"/>
              <a:ext cx="95250" cy="60325"/>
            </a:xfrm>
            <a:custGeom>
              <a:avLst/>
              <a:gdLst>
                <a:gd name="T0" fmla="*/ 8 w 60"/>
                <a:gd name="T1" fmla="*/ 38 h 38"/>
                <a:gd name="T2" fmla="*/ 0 w 60"/>
                <a:gd name="T3" fmla="*/ 22 h 38"/>
                <a:gd name="T4" fmla="*/ 54 w 60"/>
                <a:gd name="T5" fmla="*/ 0 h 38"/>
                <a:gd name="T6" fmla="*/ 60 w 60"/>
                <a:gd name="T7" fmla="*/ 16 h 38"/>
                <a:gd name="T8" fmla="*/ 8 w 60"/>
                <a:gd name="T9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38">
                  <a:moveTo>
                    <a:pt x="8" y="38"/>
                  </a:moveTo>
                  <a:lnTo>
                    <a:pt x="0" y="22"/>
                  </a:lnTo>
                  <a:lnTo>
                    <a:pt x="54" y="0"/>
                  </a:lnTo>
                  <a:lnTo>
                    <a:pt x="60" y="16"/>
                  </a:lnTo>
                  <a:lnTo>
                    <a:pt x="8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5" name="Freeform 45">
              <a:extLst>
                <a:ext uri="{FF2B5EF4-FFF2-40B4-BE49-F238E27FC236}">
                  <a16:creationId xmlns:a16="http://schemas.microsoft.com/office/drawing/2014/main" id="{22C6A35A-BFEC-408F-8AE6-BEFD63562D28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5650" y="3268663"/>
              <a:ext cx="79375" cy="88900"/>
            </a:xfrm>
            <a:custGeom>
              <a:avLst/>
              <a:gdLst>
                <a:gd name="T0" fmla="*/ 14 w 50"/>
                <a:gd name="T1" fmla="*/ 56 h 56"/>
                <a:gd name="T2" fmla="*/ 0 w 50"/>
                <a:gd name="T3" fmla="*/ 44 h 56"/>
                <a:gd name="T4" fmla="*/ 36 w 50"/>
                <a:gd name="T5" fmla="*/ 0 h 56"/>
                <a:gd name="T6" fmla="*/ 50 w 50"/>
                <a:gd name="T7" fmla="*/ 12 h 56"/>
                <a:gd name="T8" fmla="*/ 14 w 50"/>
                <a:gd name="T9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56">
                  <a:moveTo>
                    <a:pt x="14" y="56"/>
                  </a:moveTo>
                  <a:lnTo>
                    <a:pt x="0" y="44"/>
                  </a:lnTo>
                  <a:lnTo>
                    <a:pt x="36" y="0"/>
                  </a:lnTo>
                  <a:lnTo>
                    <a:pt x="50" y="12"/>
                  </a:lnTo>
                  <a:lnTo>
                    <a:pt x="14" y="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6" name="Freeform 46">
              <a:extLst>
                <a:ext uri="{FF2B5EF4-FFF2-40B4-BE49-F238E27FC236}">
                  <a16:creationId xmlns:a16="http://schemas.microsoft.com/office/drawing/2014/main" id="{F6C67AAC-BBB9-45B6-B1FA-3DD3138E2F9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1600" y="3481388"/>
              <a:ext cx="95250" cy="60325"/>
            </a:xfrm>
            <a:custGeom>
              <a:avLst/>
              <a:gdLst>
                <a:gd name="T0" fmla="*/ 54 w 60"/>
                <a:gd name="T1" fmla="*/ 38 h 38"/>
                <a:gd name="T2" fmla="*/ 0 w 60"/>
                <a:gd name="T3" fmla="*/ 16 h 38"/>
                <a:gd name="T4" fmla="*/ 8 w 60"/>
                <a:gd name="T5" fmla="*/ 0 h 38"/>
                <a:gd name="T6" fmla="*/ 60 w 60"/>
                <a:gd name="T7" fmla="*/ 22 h 38"/>
                <a:gd name="T8" fmla="*/ 54 w 60"/>
                <a:gd name="T9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38">
                  <a:moveTo>
                    <a:pt x="54" y="38"/>
                  </a:moveTo>
                  <a:lnTo>
                    <a:pt x="0" y="16"/>
                  </a:lnTo>
                  <a:lnTo>
                    <a:pt x="8" y="0"/>
                  </a:lnTo>
                  <a:lnTo>
                    <a:pt x="60" y="22"/>
                  </a:lnTo>
                  <a:lnTo>
                    <a:pt x="54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7" name="Freeform 47">
              <a:extLst>
                <a:ext uri="{FF2B5EF4-FFF2-40B4-BE49-F238E27FC236}">
                  <a16:creationId xmlns:a16="http://schemas.microsoft.com/office/drawing/2014/main" id="{570F0697-3D5A-4B20-A8A1-6EE264C7D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0350" y="3268663"/>
              <a:ext cx="79375" cy="88900"/>
            </a:xfrm>
            <a:custGeom>
              <a:avLst/>
              <a:gdLst>
                <a:gd name="T0" fmla="*/ 36 w 50"/>
                <a:gd name="T1" fmla="*/ 56 h 56"/>
                <a:gd name="T2" fmla="*/ 0 w 50"/>
                <a:gd name="T3" fmla="*/ 12 h 56"/>
                <a:gd name="T4" fmla="*/ 12 w 50"/>
                <a:gd name="T5" fmla="*/ 0 h 56"/>
                <a:gd name="T6" fmla="*/ 50 w 50"/>
                <a:gd name="T7" fmla="*/ 44 h 56"/>
                <a:gd name="T8" fmla="*/ 36 w 50"/>
                <a:gd name="T9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56">
                  <a:moveTo>
                    <a:pt x="36" y="56"/>
                  </a:moveTo>
                  <a:lnTo>
                    <a:pt x="0" y="12"/>
                  </a:lnTo>
                  <a:lnTo>
                    <a:pt x="12" y="0"/>
                  </a:lnTo>
                  <a:lnTo>
                    <a:pt x="50" y="44"/>
                  </a:lnTo>
                  <a:lnTo>
                    <a:pt x="36" y="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25" name="Group 124">
            <a:extLst>
              <a:ext uri="{FF2B5EF4-FFF2-40B4-BE49-F238E27FC236}">
                <a16:creationId xmlns:a16="http://schemas.microsoft.com/office/drawing/2014/main" id="{41B1A005-460F-418C-A650-1FB8FAA06CD3}"/>
              </a:ext>
            </a:extLst>
          </p:cNvPr>
          <p:cNvGrpSpPr/>
          <p:nvPr/>
        </p:nvGrpSpPr>
        <p:grpSpPr>
          <a:xfrm>
            <a:off x="109809" y="5137697"/>
            <a:ext cx="398963" cy="492792"/>
            <a:chOff x="2981325" y="4597400"/>
            <a:chExt cx="901700" cy="1228725"/>
          </a:xfrm>
          <a:solidFill>
            <a:schemeClr val="bg1"/>
          </a:solidFill>
        </p:grpSpPr>
        <p:sp>
          <p:nvSpPr>
            <p:cNvPr id="126" name="Freeform 123">
              <a:extLst>
                <a:ext uri="{FF2B5EF4-FFF2-40B4-BE49-F238E27FC236}">
                  <a16:creationId xmlns:a16="http://schemas.microsoft.com/office/drawing/2014/main" id="{1F41CA16-2241-4865-AEC2-251F3D0EF6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48000" y="4676775"/>
              <a:ext cx="765175" cy="1079500"/>
            </a:xfrm>
            <a:custGeom>
              <a:avLst/>
              <a:gdLst>
                <a:gd name="T0" fmla="*/ 146 w 482"/>
                <a:gd name="T1" fmla="*/ 460 h 680"/>
                <a:gd name="T2" fmla="*/ 114 w 482"/>
                <a:gd name="T3" fmla="*/ 444 h 680"/>
                <a:gd name="T4" fmla="*/ 72 w 482"/>
                <a:gd name="T5" fmla="*/ 412 h 680"/>
                <a:gd name="T6" fmla="*/ 40 w 482"/>
                <a:gd name="T7" fmla="*/ 372 h 680"/>
                <a:gd name="T8" fmla="*/ 16 w 482"/>
                <a:gd name="T9" fmla="*/ 326 h 680"/>
                <a:gd name="T10" fmla="*/ 4 w 482"/>
                <a:gd name="T11" fmla="*/ 276 h 680"/>
                <a:gd name="T12" fmla="*/ 0 w 482"/>
                <a:gd name="T13" fmla="*/ 240 h 680"/>
                <a:gd name="T14" fmla="*/ 12 w 482"/>
                <a:gd name="T15" fmla="*/ 168 h 680"/>
                <a:gd name="T16" fmla="*/ 42 w 482"/>
                <a:gd name="T17" fmla="*/ 106 h 680"/>
                <a:gd name="T18" fmla="*/ 88 w 482"/>
                <a:gd name="T19" fmla="*/ 54 h 680"/>
                <a:gd name="T20" fmla="*/ 148 w 482"/>
                <a:gd name="T21" fmla="*/ 18 h 680"/>
                <a:gd name="T22" fmla="*/ 218 w 482"/>
                <a:gd name="T23" fmla="*/ 0 h 680"/>
                <a:gd name="T24" fmla="*/ 266 w 482"/>
                <a:gd name="T25" fmla="*/ 0 h 680"/>
                <a:gd name="T26" fmla="*/ 336 w 482"/>
                <a:gd name="T27" fmla="*/ 18 h 680"/>
                <a:gd name="T28" fmla="*/ 394 w 482"/>
                <a:gd name="T29" fmla="*/ 54 h 680"/>
                <a:gd name="T30" fmla="*/ 442 w 482"/>
                <a:gd name="T31" fmla="*/ 106 h 680"/>
                <a:gd name="T32" fmla="*/ 472 w 482"/>
                <a:gd name="T33" fmla="*/ 168 h 680"/>
                <a:gd name="T34" fmla="*/ 482 w 482"/>
                <a:gd name="T35" fmla="*/ 240 h 680"/>
                <a:gd name="T36" fmla="*/ 480 w 482"/>
                <a:gd name="T37" fmla="*/ 276 h 680"/>
                <a:gd name="T38" fmla="*/ 466 w 482"/>
                <a:gd name="T39" fmla="*/ 328 h 680"/>
                <a:gd name="T40" fmla="*/ 442 w 482"/>
                <a:gd name="T41" fmla="*/ 374 h 680"/>
                <a:gd name="T42" fmla="*/ 410 w 482"/>
                <a:gd name="T43" fmla="*/ 414 h 680"/>
                <a:gd name="T44" fmla="*/ 368 w 482"/>
                <a:gd name="T45" fmla="*/ 446 h 680"/>
                <a:gd name="T46" fmla="*/ 336 w 482"/>
                <a:gd name="T47" fmla="*/ 680 h 680"/>
                <a:gd name="T48" fmla="*/ 318 w 482"/>
                <a:gd name="T49" fmla="*/ 450 h 680"/>
                <a:gd name="T50" fmla="*/ 338 w 482"/>
                <a:gd name="T51" fmla="*/ 440 h 680"/>
                <a:gd name="T52" fmla="*/ 382 w 482"/>
                <a:gd name="T53" fmla="*/ 414 h 680"/>
                <a:gd name="T54" fmla="*/ 416 w 482"/>
                <a:gd name="T55" fmla="*/ 378 h 680"/>
                <a:gd name="T56" fmla="*/ 442 w 482"/>
                <a:gd name="T57" fmla="*/ 338 h 680"/>
                <a:gd name="T58" fmla="*/ 458 w 482"/>
                <a:gd name="T59" fmla="*/ 290 h 680"/>
                <a:gd name="T60" fmla="*/ 464 w 482"/>
                <a:gd name="T61" fmla="*/ 240 h 680"/>
                <a:gd name="T62" fmla="*/ 460 w 482"/>
                <a:gd name="T63" fmla="*/ 196 h 680"/>
                <a:gd name="T64" fmla="*/ 438 w 482"/>
                <a:gd name="T65" fmla="*/ 134 h 680"/>
                <a:gd name="T66" fmla="*/ 400 w 482"/>
                <a:gd name="T67" fmla="*/ 82 h 680"/>
                <a:gd name="T68" fmla="*/ 348 w 482"/>
                <a:gd name="T69" fmla="*/ 44 h 680"/>
                <a:gd name="T70" fmla="*/ 286 w 482"/>
                <a:gd name="T71" fmla="*/ 22 h 680"/>
                <a:gd name="T72" fmla="*/ 242 w 482"/>
                <a:gd name="T73" fmla="*/ 18 h 680"/>
                <a:gd name="T74" fmla="*/ 176 w 482"/>
                <a:gd name="T75" fmla="*/ 28 h 680"/>
                <a:gd name="T76" fmla="*/ 118 w 482"/>
                <a:gd name="T77" fmla="*/ 56 h 680"/>
                <a:gd name="T78" fmla="*/ 70 w 482"/>
                <a:gd name="T79" fmla="*/ 98 h 680"/>
                <a:gd name="T80" fmla="*/ 36 w 482"/>
                <a:gd name="T81" fmla="*/ 154 h 680"/>
                <a:gd name="T82" fmla="*/ 20 w 482"/>
                <a:gd name="T83" fmla="*/ 218 h 680"/>
                <a:gd name="T84" fmla="*/ 20 w 482"/>
                <a:gd name="T85" fmla="*/ 256 h 680"/>
                <a:gd name="T86" fmla="*/ 28 w 482"/>
                <a:gd name="T87" fmla="*/ 306 h 680"/>
                <a:gd name="T88" fmla="*/ 56 w 482"/>
                <a:gd name="T89" fmla="*/ 364 h 680"/>
                <a:gd name="T90" fmla="*/ 100 w 482"/>
                <a:gd name="T91" fmla="*/ 412 h 680"/>
                <a:gd name="T92" fmla="*/ 142 w 482"/>
                <a:gd name="T93" fmla="*/ 440 h 680"/>
                <a:gd name="T94" fmla="*/ 164 w 482"/>
                <a:gd name="T95" fmla="*/ 662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82" h="680">
                  <a:moveTo>
                    <a:pt x="336" y="680"/>
                  </a:moveTo>
                  <a:lnTo>
                    <a:pt x="146" y="680"/>
                  </a:lnTo>
                  <a:lnTo>
                    <a:pt x="146" y="460"/>
                  </a:lnTo>
                  <a:lnTo>
                    <a:pt x="146" y="460"/>
                  </a:lnTo>
                  <a:lnTo>
                    <a:pt x="130" y="454"/>
                  </a:lnTo>
                  <a:lnTo>
                    <a:pt x="114" y="444"/>
                  </a:lnTo>
                  <a:lnTo>
                    <a:pt x="100" y="434"/>
                  </a:lnTo>
                  <a:lnTo>
                    <a:pt x="86" y="424"/>
                  </a:lnTo>
                  <a:lnTo>
                    <a:pt x="72" y="412"/>
                  </a:lnTo>
                  <a:lnTo>
                    <a:pt x="60" y="400"/>
                  </a:lnTo>
                  <a:lnTo>
                    <a:pt x="50" y="386"/>
                  </a:lnTo>
                  <a:lnTo>
                    <a:pt x="40" y="372"/>
                  </a:lnTo>
                  <a:lnTo>
                    <a:pt x="32" y="358"/>
                  </a:lnTo>
                  <a:lnTo>
                    <a:pt x="24" y="342"/>
                  </a:lnTo>
                  <a:lnTo>
                    <a:pt x="16" y="326"/>
                  </a:lnTo>
                  <a:lnTo>
                    <a:pt x="12" y="310"/>
                  </a:lnTo>
                  <a:lnTo>
                    <a:pt x="6" y="292"/>
                  </a:lnTo>
                  <a:lnTo>
                    <a:pt x="4" y="276"/>
                  </a:lnTo>
                  <a:lnTo>
                    <a:pt x="2" y="258"/>
                  </a:lnTo>
                  <a:lnTo>
                    <a:pt x="0" y="240"/>
                  </a:lnTo>
                  <a:lnTo>
                    <a:pt x="0" y="240"/>
                  </a:lnTo>
                  <a:lnTo>
                    <a:pt x="2" y="216"/>
                  </a:lnTo>
                  <a:lnTo>
                    <a:pt x="6" y="192"/>
                  </a:lnTo>
                  <a:lnTo>
                    <a:pt x="12" y="168"/>
                  </a:lnTo>
                  <a:lnTo>
                    <a:pt x="20" y="146"/>
                  </a:lnTo>
                  <a:lnTo>
                    <a:pt x="30" y="126"/>
                  </a:lnTo>
                  <a:lnTo>
                    <a:pt x="42" y="106"/>
                  </a:lnTo>
                  <a:lnTo>
                    <a:pt x="56" y="86"/>
                  </a:lnTo>
                  <a:lnTo>
                    <a:pt x="72" y="70"/>
                  </a:lnTo>
                  <a:lnTo>
                    <a:pt x="88" y="54"/>
                  </a:lnTo>
                  <a:lnTo>
                    <a:pt x="108" y="40"/>
                  </a:lnTo>
                  <a:lnTo>
                    <a:pt x="126" y="28"/>
                  </a:lnTo>
                  <a:lnTo>
                    <a:pt x="148" y="18"/>
                  </a:lnTo>
                  <a:lnTo>
                    <a:pt x="170" y="10"/>
                  </a:lnTo>
                  <a:lnTo>
                    <a:pt x="194" y="4"/>
                  </a:lnTo>
                  <a:lnTo>
                    <a:pt x="218" y="0"/>
                  </a:lnTo>
                  <a:lnTo>
                    <a:pt x="242" y="0"/>
                  </a:lnTo>
                  <a:lnTo>
                    <a:pt x="242" y="0"/>
                  </a:lnTo>
                  <a:lnTo>
                    <a:pt x="266" y="0"/>
                  </a:lnTo>
                  <a:lnTo>
                    <a:pt x="290" y="4"/>
                  </a:lnTo>
                  <a:lnTo>
                    <a:pt x="314" y="10"/>
                  </a:lnTo>
                  <a:lnTo>
                    <a:pt x="336" y="18"/>
                  </a:lnTo>
                  <a:lnTo>
                    <a:pt x="356" y="28"/>
                  </a:lnTo>
                  <a:lnTo>
                    <a:pt x="376" y="40"/>
                  </a:lnTo>
                  <a:lnTo>
                    <a:pt x="394" y="54"/>
                  </a:lnTo>
                  <a:lnTo>
                    <a:pt x="412" y="70"/>
                  </a:lnTo>
                  <a:lnTo>
                    <a:pt x="428" y="86"/>
                  </a:lnTo>
                  <a:lnTo>
                    <a:pt x="442" y="106"/>
                  </a:lnTo>
                  <a:lnTo>
                    <a:pt x="454" y="126"/>
                  </a:lnTo>
                  <a:lnTo>
                    <a:pt x="464" y="146"/>
                  </a:lnTo>
                  <a:lnTo>
                    <a:pt x="472" y="168"/>
                  </a:lnTo>
                  <a:lnTo>
                    <a:pt x="478" y="192"/>
                  </a:lnTo>
                  <a:lnTo>
                    <a:pt x="482" y="216"/>
                  </a:lnTo>
                  <a:lnTo>
                    <a:pt x="482" y="240"/>
                  </a:lnTo>
                  <a:lnTo>
                    <a:pt x="482" y="240"/>
                  </a:lnTo>
                  <a:lnTo>
                    <a:pt x="482" y="258"/>
                  </a:lnTo>
                  <a:lnTo>
                    <a:pt x="480" y="276"/>
                  </a:lnTo>
                  <a:lnTo>
                    <a:pt x="476" y="294"/>
                  </a:lnTo>
                  <a:lnTo>
                    <a:pt x="472" y="310"/>
                  </a:lnTo>
                  <a:lnTo>
                    <a:pt x="466" y="328"/>
                  </a:lnTo>
                  <a:lnTo>
                    <a:pt x="460" y="344"/>
                  </a:lnTo>
                  <a:lnTo>
                    <a:pt x="452" y="358"/>
                  </a:lnTo>
                  <a:lnTo>
                    <a:pt x="442" y="374"/>
                  </a:lnTo>
                  <a:lnTo>
                    <a:pt x="432" y="388"/>
                  </a:lnTo>
                  <a:lnTo>
                    <a:pt x="422" y="400"/>
                  </a:lnTo>
                  <a:lnTo>
                    <a:pt x="410" y="414"/>
                  </a:lnTo>
                  <a:lnTo>
                    <a:pt x="396" y="424"/>
                  </a:lnTo>
                  <a:lnTo>
                    <a:pt x="382" y="436"/>
                  </a:lnTo>
                  <a:lnTo>
                    <a:pt x="368" y="446"/>
                  </a:lnTo>
                  <a:lnTo>
                    <a:pt x="352" y="454"/>
                  </a:lnTo>
                  <a:lnTo>
                    <a:pt x="336" y="462"/>
                  </a:lnTo>
                  <a:lnTo>
                    <a:pt x="336" y="680"/>
                  </a:lnTo>
                  <a:close/>
                  <a:moveTo>
                    <a:pt x="164" y="662"/>
                  </a:moveTo>
                  <a:lnTo>
                    <a:pt x="318" y="662"/>
                  </a:lnTo>
                  <a:lnTo>
                    <a:pt x="318" y="450"/>
                  </a:lnTo>
                  <a:lnTo>
                    <a:pt x="324" y="448"/>
                  </a:lnTo>
                  <a:lnTo>
                    <a:pt x="324" y="448"/>
                  </a:lnTo>
                  <a:lnTo>
                    <a:pt x="338" y="440"/>
                  </a:lnTo>
                  <a:lnTo>
                    <a:pt x="354" y="432"/>
                  </a:lnTo>
                  <a:lnTo>
                    <a:pt x="368" y="424"/>
                  </a:lnTo>
                  <a:lnTo>
                    <a:pt x="382" y="414"/>
                  </a:lnTo>
                  <a:lnTo>
                    <a:pt x="394" y="402"/>
                  </a:lnTo>
                  <a:lnTo>
                    <a:pt x="406" y="392"/>
                  </a:lnTo>
                  <a:lnTo>
                    <a:pt x="416" y="378"/>
                  </a:lnTo>
                  <a:lnTo>
                    <a:pt x="426" y="366"/>
                  </a:lnTo>
                  <a:lnTo>
                    <a:pt x="434" y="352"/>
                  </a:lnTo>
                  <a:lnTo>
                    <a:pt x="442" y="338"/>
                  </a:lnTo>
                  <a:lnTo>
                    <a:pt x="450" y="322"/>
                  </a:lnTo>
                  <a:lnTo>
                    <a:pt x="454" y="306"/>
                  </a:lnTo>
                  <a:lnTo>
                    <a:pt x="458" y="290"/>
                  </a:lnTo>
                  <a:lnTo>
                    <a:pt x="462" y="274"/>
                  </a:lnTo>
                  <a:lnTo>
                    <a:pt x="464" y="258"/>
                  </a:lnTo>
                  <a:lnTo>
                    <a:pt x="464" y="240"/>
                  </a:lnTo>
                  <a:lnTo>
                    <a:pt x="464" y="240"/>
                  </a:lnTo>
                  <a:lnTo>
                    <a:pt x="464" y="218"/>
                  </a:lnTo>
                  <a:lnTo>
                    <a:pt x="460" y="196"/>
                  </a:lnTo>
                  <a:lnTo>
                    <a:pt x="454" y="174"/>
                  </a:lnTo>
                  <a:lnTo>
                    <a:pt x="446" y="154"/>
                  </a:lnTo>
                  <a:lnTo>
                    <a:pt x="438" y="134"/>
                  </a:lnTo>
                  <a:lnTo>
                    <a:pt x="426" y="116"/>
                  </a:lnTo>
                  <a:lnTo>
                    <a:pt x="414" y="98"/>
                  </a:lnTo>
                  <a:lnTo>
                    <a:pt x="400" y="82"/>
                  </a:lnTo>
                  <a:lnTo>
                    <a:pt x="384" y="68"/>
                  </a:lnTo>
                  <a:lnTo>
                    <a:pt x="366" y="56"/>
                  </a:lnTo>
                  <a:lnTo>
                    <a:pt x="348" y="44"/>
                  </a:lnTo>
                  <a:lnTo>
                    <a:pt x="328" y="34"/>
                  </a:lnTo>
                  <a:lnTo>
                    <a:pt x="308" y="28"/>
                  </a:lnTo>
                  <a:lnTo>
                    <a:pt x="286" y="22"/>
                  </a:lnTo>
                  <a:lnTo>
                    <a:pt x="264" y="18"/>
                  </a:lnTo>
                  <a:lnTo>
                    <a:pt x="242" y="18"/>
                  </a:lnTo>
                  <a:lnTo>
                    <a:pt x="242" y="18"/>
                  </a:lnTo>
                  <a:lnTo>
                    <a:pt x="218" y="18"/>
                  </a:lnTo>
                  <a:lnTo>
                    <a:pt x="196" y="22"/>
                  </a:lnTo>
                  <a:lnTo>
                    <a:pt x="176" y="28"/>
                  </a:lnTo>
                  <a:lnTo>
                    <a:pt x="154" y="34"/>
                  </a:lnTo>
                  <a:lnTo>
                    <a:pt x="136" y="44"/>
                  </a:lnTo>
                  <a:lnTo>
                    <a:pt x="118" y="56"/>
                  </a:lnTo>
                  <a:lnTo>
                    <a:pt x="100" y="68"/>
                  </a:lnTo>
                  <a:lnTo>
                    <a:pt x="84" y="82"/>
                  </a:lnTo>
                  <a:lnTo>
                    <a:pt x="70" y="98"/>
                  </a:lnTo>
                  <a:lnTo>
                    <a:pt x="56" y="116"/>
                  </a:lnTo>
                  <a:lnTo>
                    <a:pt x="46" y="134"/>
                  </a:lnTo>
                  <a:lnTo>
                    <a:pt x="36" y="154"/>
                  </a:lnTo>
                  <a:lnTo>
                    <a:pt x="28" y="174"/>
                  </a:lnTo>
                  <a:lnTo>
                    <a:pt x="24" y="196"/>
                  </a:lnTo>
                  <a:lnTo>
                    <a:pt x="20" y="218"/>
                  </a:lnTo>
                  <a:lnTo>
                    <a:pt x="18" y="240"/>
                  </a:lnTo>
                  <a:lnTo>
                    <a:pt x="18" y="240"/>
                  </a:lnTo>
                  <a:lnTo>
                    <a:pt x="20" y="256"/>
                  </a:lnTo>
                  <a:lnTo>
                    <a:pt x="22" y="274"/>
                  </a:lnTo>
                  <a:lnTo>
                    <a:pt x="24" y="290"/>
                  </a:lnTo>
                  <a:lnTo>
                    <a:pt x="28" y="306"/>
                  </a:lnTo>
                  <a:lnTo>
                    <a:pt x="34" y="322"/>
                  </a:lnTo>
                  <a:lnTo>
                    <a:pt x="40" y="336"/>
                  </a:lnTo>
                  <a:lnTo>
                    <a:pt x="56" y="364"/>
                  </a:lnTo>
                  <a:lnTo>
                    <a:pt x="76" y="390"/>
                  </a:lnTo>
                  <a:lnTo>
                    <a:pt x="88" y="402"/>
                  </a:lnTo>
                  <a:lnTo>
                    <a:pt x="100" y="412"/>
                  </a:lnTo>
                  <a:lnTo>
                    <a:pt x="114" y="422"/>
                  </a:lnTo>
                  <a:lnTo>
                    <a:pt x="128" y="432"/>
                  </a:lnTo>
                  <a:lnTo>
                    <a:pt x="142" y="440"/>
                  </a:lnTo>
                  <a:lnTo>
                    <a:pt x="158" y="446"/>
                  </a:lnTo>
                  <a:lnTo>
                    <a:pt x="164" y="448"/>
                  </a:lnTo>
                  <a:lnTo>
                    <a:pt x="164" y="66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7" name="Freeform 124">
              <a:extLst>
                <a:ext uri="{FF2B5EF4-FFF2-40B4-BE49-F238E27FC236}">
                  <a16:creationId xmlns:a16="http://schemas.microsoft.com/office/drawing/2014/main" id="{2BECB852-7841-4693-8150-F349C74BC1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52800" y="5727700"/>
              <a:ext cx="158750" cy="98425"/>
            </a:xfrm>
            <a:custGeom>
              <a:avLst/>
              <a:gdLst>
                <a:gd name="T0" fmla="*/ 74 w 100"/>
                <a:gd name="T1" fmla="*/ 62 h 62"/>
                <a:gd name="T2" fmla="*/ 24 w 100"/>
                <a:gd name="T3" fmla="*/ 62 h 62"/>
                <a:gd name="T4" fmla="*/ 0 w 100"/>
                <a:gd name="T5" fmla="*/ 0 h 62"/>
                <a:gd name="T6" fmla="*/ 100 w 100"/>
                <a:gd name="T7" fmla="*/ 0 h 62"/>
                <a:gd name="T8" fmla="*/ 74 w 100"/>
                <a:gd name="T9" fmla="*/ 62 h 62"/>
                <a:gd name="T10" fmla="*/ 36 w 100"/>
                <a:gd name="T11" fmla="*/ 44 h 62"/>
                <a:gd name="T12" fmla="*/ 62 w 100"/>
                <a:gd name="T13" fmla="*/ 44 h 62"/>
                <a:gd name="T14" fmla="*/ 74 w 100"/>
                <a:gd name="T15" fmla="*/ 18 h 62"/>
                <a:gd name="T16" fmla="*/ 26 w 100"/>
                <a:gd name="T17" fmla="*/ 18 h 62"/>
                <a:gd name="T18" fmla="*/ 36 w 100"/>
                <a:gd name="T19" fmla="*/ 4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0" h="62">
                  <a:moveTo>
                    <a:pt x="74" y="62"/>
                  </a:moveTo>
                  <a:lnTo>
                    <a:pt x="24" y="62"/>
                  </a:lnTo>
                  <a:lnTo>
                    <a:pt x="0" y="0"/>
                  </a:lnTo>
                  <a:lnTo>
                    <a:pt x="100" y="0"/>
                  </a:lnTo>
                  <a:lnTo>
                    <a:pt x="74" y="62"/>
                  </a:lnTo>
                  <a:close/>
                  <a:moveTo>
                    <a:pt x="36" y="44"/>
                  </a:moveTo>
                  <a:lnTo>
                    <a:pt x="62" y="44"/>
                  </a:lnTo>
                  <a:lnTo>
                    <a:pt x="74" y="18"/>
                  </a:lnTo>
                  <a:lnTo>
                    <a:pt x="26" y="18"/>
                  </a:lnTo>
                  <a:lnTo>
                    <a:pt x="36" y="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8" name="Rectangle 125">
              <a:extLst>
                <a:ext uri="{FF2B5EF4-FFF2-40B4-BE49-F238E27FC236}">
                  <a16:creationId xmlns:a16="http://schemas.microsoft.com/office/drawing/2014/main" id="{63053EDE-C931-4483-8A90-D7A421C50B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6275" y="5505450"/>
              <a:ext cx="428625" cy="285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9" name="Rectangle 126">
              <a:extLst>
                <a:ext uri="{FF2B5EF4-FFF2-40B4-BE49-F238E27FC236}">
                  <a16:creationId xmlns:a16="http://schemas.microsoft.com/office/drawing/2014/main" id="{FB0EF130-8861-4127-A61F-DA2E75E23A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6275" y="5572125"/>
              <a:ext cx="428625" cy="285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0" name="Rectangle 127">
              <a:extLst>
                <a:ext uri="{FF2B5EF4-FFF2-40B4-BE49-F238E27FC236}">
                  <a16:creationId xmlns:a16="http://schemas.microsoft.com/office/drawing/2014/main" id="{86AF4CEA-A792-4874-B443-5F4DA6F659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6275" y="5641975"/>
              <a:ext cx="428625" cy="285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1" name="Rectangle 128">
              <a:extLst>
                <a:ext uri="{FF2B5EF4-FFF2-40B4-BE49-F238E27FC236}">
                  <a16:creationId xmlns:a16="http://schemas.microsoft.com/office/drawing/2014/main" id="{B664E2DC-FC68-4F80-96D1-AC27075117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87700" y="4657725"/>
              <a:ext cx="28575" cy="4762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2" name="Rectangle 129">
              <a:extLst>
                <a:ext uri="{FF2B5EF4-FFF2-40B4-BE49-F238E27FC236}">
                  <a16:creationId xmlns:a16="http://schemas.microsoft.com/office/drawing/2014/main" id="{6EDBAC98-8351-412D-8A6B-54F8DFE1B5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32125" y="4803775"/>
              <a:ext cx="28575" cy="444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3" name="Rectangle 130">
              <a:extLst>
                <a:ext uri="{FF2B5EF4-FFF2-40B4-BE49-F238E27FC236}">
                  <a16:creationId xmlns:a16="http://schemas.microsoft.com/office/drawing/2014/main" id="{7210A6C8-DBBB-4C83-BF28-CA9EB46A1C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16300" y="4597400"/>
              <a:ext cx="28575" cy="444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4" name="Rectangle 131">
              <a:extLst>
                <a:ext uri="{FF2B5EF4-FFF2-40B4-BE49-F238E27FC236}">
                  <a16:creationId xmlns:a16="http://schemas.microsoft.com/office/drawing/2014/main" id="{844635D2-3480-4BCE-82FD-EFBB775257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8075" y="4657725"/>
              <a:ext cx="28575" cy="4762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5" name="Rectangle 132">
              <a:extLst>
                <a:ext uri="{FF2B5EF4-FFF2-40B4-BE49-F238E27FC236}">
                  <a16:creationId xmlns:a16="http://schemas.microsoft.com/office/drawing/2014/main" id="{A0435C10-AA1D-4A97-A9DB-45DA19E365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0950" y="4803775"/>
              <a:ext cx="28575" cy="444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6" name="Rectangle 133">
              <a:extLst>
                <a:ext uri="{FF2B5EF4-FFF2-40B4-BE49-F238E27FC236}">
                  <a16:creationId xmlns:a16="http://schemas.microsoft.com/office/drawing/2014/main" id="{844940C7-080A-49D9-AE89-13F9B639C3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32125" y="5260975"/>
              <a:ext cx="28575" cy="444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7" name="Rectangle 134">
              <a:extLst>
                <a:ext uri="{FF2B5EF4-FFF2-40B4-BE49-F238E27FC236}">
                  <a16:creationId xmlns:a16="http://schemas.microsoft.com/office/drawing/2014/main" id="{FE025F2D-C210-4574-813A-467EFFBE54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0950" y="5260975"/>
              <a:ext cx="28575" cy="444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8" name="Rectangle 135">
              <a:extLst>
                <a:ext uri="{FF2B5EF4-FFF2-40B4-BE49-F238E27FC236}">
                  <a16:creationId xmlns:a16="http://schemas.microsoft.com/office/drawing/2014/main" id="{BA2332FF-4CDB-47C4-9CCC-272ED8119F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450" y="5022850"/>
              <a:ext cx="28575" cy="444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9" name="Rectangle 136">
              <a:extLst>
                <a:ext uri="{FF2B5EF4-FFF2-40B4-BE49-F238E27FC236}">
                  <a16:creationId xmlns:a16="http://schemas.microsoft.com/office/drawing/2014/main" id="{D981B98E-765F-4126-8EEC-194DDC6549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1325" y="5022850"/>
              <a:ext cx="28575" cy="444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0" name="Freeform 137">
              <a:extLst>
                <a:ext uri="{FF2B5EF4-FFF2-40B4-BE49-F238E27FC236}">
                  <a16:creationId xmlns:a16="http://schemas.microsoft.com/office/drawing/2014/main" id="{A66D8095-EC8F-496D-A645-AF09FFF9A7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9600" y="4772025"/>
              <a:ext cx="565150" cy="762000"/>
            </a:xfrm>
            <a:custGeom>
              <a:avLst/>
              <a:gdLst>
                <a:gd name="T0" fmla="*/ 132 w 356"/>
                <a:gd name="T1" fmla="*/ 350 h 480"/>
                <a:gd name="T2" fmla="*/ 104 w 356"/>
                <a:gd name="T3" fmla="*/ 340 h 480"/>
                <a:gd name="T4" fmla="*/ 56 w 356"/>
                <a:gd name="T5" fmla="*/ 306 h 480"/>
                <a:gd name="T6" fmla="*/ 10 w 356"/>
                <a:gd name="T7" fmla="*/ 236 h 480"/>
                <a:gd name="T8" fmla="*/ 0 w 356"/>
                <a:gd name="T9" fmla="*/ 192 h 480"/>
                <a:gd name="T10" fmla="*/ 0 w 356"/>
                <a:gd name="T11" fmla="*/ 160 h 480"/>
                <a:gd name="T12" fmla="*/ 14 w 356"/>
                <a:gd name="T13" fmla="*/ 108 h 480"/>
                <a:gd name="T14" fmla="*/ 40 w 356"/>
                <a:gd name="T15" fmla="*/ 64 h 480"/>
                <a:gd name="T16" fmla="*/ 78 w 356"/>
                <a:gd name="T17" fmla="*/ 30 h 480"/>
                <a:gd name="T18" fmla="*/ 124 w 356"/>
                <a:gd name="T19" fmla="*/ 8 h 480"/>
                <a:gd name="T20" fmla="*/ 178 w 356"/>
                <a:gd name="T21" fmla="*/ 0 h 480"/>
                <a:gd name="T22" fmla="*/ 214 w 356"/>
                <a:gd name="T23" fmla="*/ 4 h 480"/>
                <a:gd name="T24" fmla="*/ 262 w 356"/>
                <a:gd name="T25" fmla="*/ 20 h 480"/>
                <a:gd name="T26" fmla="*/ 304 w 356"/>
                <a:gd name="T27" fmla="*/ 52 h 480"/>
                <a:gd name="T28" fmla="*/ 334 w 356"/>
                <a:gd name="T29" fmla="*/ 92 h 480"/>
                <a:gd name="T30" fmla="*/ 352 w 356"/>
                <a:gd name="T31" fmla="*/ 142 h 480"/>
                <a:gd name="T32" fmla="*/ 356 w 356"/>
                <a:gd name="T33" fmla="*/ 178 h 480"/>
                <a:gd name="T34" fmla="*/ 350 w 356"/>
                <a:gd name="T35" fmla="*/ 222 h 480"/>
                <a:gd name="T36" fmla="*/ 318 w 356"/>
                <a:gd name="T37" fmla="*/ 286 h 480"/>
                <a:gd name="T38" fmla="*/ 264 w 356"/>
                <a:gd name="T39" fmla="*/ 332 h 480"/>
                <a:gd name="T40" fmla="*/ 222 w 356"/>
                <a:gd name="T41" fmla="*/ 350 h 480"/>
                <a:gd name="T42" fmla="*/ 204 w 356"/>
                <a:gd name="T43" fmla="*/ 342 h 480"/>
                <a:gd name="T44" fmla="*/ 212 w 356"/>
                <a:gd name="T45" fmla="*/ 334 h 480"/>
                <a:gd name="T46" fmla="*/ 238 w 356"/>
                <a:gd name="T47" fmla="*/ 324 h 480"/>
                <a:gd name="T48" fmla="*/ 302 w 356"/>
                <a:gd name="T49" fmla="*/ 278 h 480"/>
                <a:gd name="T50" fmla="*/ 334 w 356"/>
                <a:gd name="T51" fmla="*/ 204 h 480"/>
                <a:gd name="T52" fmla="*/ 338 w 356"/>
                <a:gd name="T53" fmla="*/ 178 h 480"/>
                <a:gd name="T54" fmla="*/ 330 w 356"/>
                <a:gd name="T55" fmla="*/ 130 h 480"/>
                <a:gd name="T56" fmla="*/ 310 w 356"/>
                <a:gd name="T57" fmla="*/ 88 h 480"/>
                <a:gd name="T58" fmla="*/ 280 w 356"/>
                <a:gd name="T59" fmla="*/ 54 h 480"/>
                <a:gd name="T60" fmla="*/ 240 w 356"/>
                <a:gd name="T61" fmla="*/ 30 h 480"/>
                <a:gd name="T62" fmla="*/ 194 w 356"/>
                <a:gd name="T63" fmla="*/ 18 h 480"/>
                <a:gd name="T64" fmla="*/ 162 w 356"/>
                <a:gd name="T65" fmla="*/ 18 h 480"/>
                <a:gd name="T66" fmla="*/ 116 w 356"/>
                <a:gd name="T67" fmla="*/ 30 h 480"/>
                <a:gd name="T68" fmla="*/ 76 w 356"/>
                <a:gd name="T69" fmla="*/ 54 h 480"/>
                <a:gd name="T70" fmla="*/ 46 w 356"/>
                <a:gd name="T71" fmla="*/ 88 h 480"/>
                <a:gd name="T72" fmla="*/ 26 w 356"/>
                <a:gd name="T73" fmla="*/ 130 h 480"/>
                <a:gd name="T74" fmla="*/ 18 w 356"/>
                <a:gd name="T75" fmla="*/ 178 h 480"/>
                <a:gd name="T76" fmla="*/ 20 w 356"/>
                <a:gd name="T77" fmla="*/ 204 h 480"/>
                <a:gd name="T78" fmla="*/ 54 w 356"/>
                <a:gd name="T79" fmla="*/ 278 h 480"/>
                <a:gd name="T80" fmla="*/ 118 w 356"/>
                <a:gd name="T81" fmla="*/ 324 h 480"/>
                <a:gd name="T82" fmla="*/ 144 w 356"/>
                <a:gd name="T83" fmla="*/ 334 h 480"/>
                <a:gd name="T84" fmla="*/ 150 w 356"/>
                <a:gd name="T85" fmla="*/ 48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56" h="480">
                  <a:moveTo>
                    <a:pt x="150" y="480"/>
                  </a:moveTo>
                  <a:lnTo>
                    <a:pt x="132" y="480"/>
                  </a:lnTo>
                  <a:lnTo>
                    <a:pt x="132" y="350"/>
                  </a:lnTo>
                  <a:lnTo>
                    <a:pt x="132" y="350"/>
                  </a:lnTo>
                  <a:lnTo>
                    <a:pt x="118" y="344"/>
                  </a:lnTo>
                  <a:lnTo>
                    <a:pt x="104" y="340"/>
                  </a:lnTo>
                  <a:lnTo>
                    <a:pt x="92" y="332"/>
                  </a:lnTo>
                  <a:lnTo>
                    <a:pt x="80" y="324"/>
                  </a:lnTo>
                  <a:lnTo>
                    <a:pt x="56" y="306"/>
                  </a:lnTo>
                  <a:lnTo>
                    <a:pt x="38" y="286"/>
                  </a:lnTo>
                  <a:lnTo>
                    <a:pt x="22" y="262"/>
                  </a:lnTo>
                  <a:lnTo>
                    <a:pt x="10" y="236"/>
                  </a:lnTo>
                  <a:lnTo>
                    <a:pt x="6" y="222"/>
                  </a:lnTo>
                  <a:lnTo>
                    <a:pt x="2" y="206"/>
                  </a:lnTo>
                  <a:lnTo>
                    <a:pt x="0" y="192"/>
                  </a:lnTo>
                  <a:lnTo>
                    <a:pt x="0" y="178"/>
                  </a:lnTo>
                  <a:lnTo>
                    <a:pt x="0" y="178"/>
                  </a:lnTo>
                  <a:lnTo>
                    <a:pt x="0" y="160"/>
                  </a:lnTo>
                  <a:lnTo>
                    <a:pt x="4" y="142"/>
                  </a:lnTo>
                  <a:lnTo>
                    <a:pt x="8" y="124"/>
                  </a:lnTo>
                  <a:lnTo>
                    <a:pt x="14" y="108"/>
                  </a:lnTo>
                  <a:lnTo>
                    <a:pt x="22" y="92"/>
                  </a:lnTo>
                  <a:lnTo>
                    <a:pt x="30" y="78"/>
                  </a:lnTo>
                  <a:lnTo>
                    <a:pt x="40" y="64"/>
                  </a:lnTo>
                  <a:lnTo>
                    <a:pt x="52" y="52"/>
                  </a:lnTo>
                  <a:lnTo>
                    <a:pt x="64" y="40"/>
                  </a:lnTo>
                  <a:lnTo>
                    <a:pt x="78" y="30"/>
                  </a:lnTo>
                  <a:lnTo>
                    <a:pt x="94" y="20"/>
                  </a:lnTo>
                  <a:lnTo>
                    <a:pt x="108" y="14"/>
                  </a:lnTo>
                  <a:lnTo>
                    <a:pt x="124" y="8"/>
                  </a:lnTo>
                  <a:lnTo>
                    <a:pt x="142" y="4"/>
                  </a:lnTo>
                  <a:lnTo>
                    <a:pt x="160" y="0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96" y="0"/>
                  </a:lnTo>
                  <a:lnTo>
                    <a:pt x="214" y="4"/>
                  </a:lnTo>
                  <a:lnTo>
                    <a:pt x="230" y="8"/>
                  </a:lnTo>
                  <a:lnTo>
                    <a:pt x="246" y="14"/>
                  </a:lnTo>
                  <a:lnTo>
                    <a:pt x="262" y="20"/>
                  </a:lnTo>
                  <a:lnTo>
                    <a:pt x="276" y="30"/>
                  </a:lnTo>
                  <a:lnTo>
                    <a:pt x="290" y="40"/>
                  </a:lnTo>
                  <a:lnTo>
                    <a:pt x="304" y="52"/>
                  </a:lnTo>
                  <a:lnTo>
                    <a:pt x="314" y="64"/>
                  </a:lnTo>
                  <a:lnTo>
                    <a:pt x="324" y="78"/>
                  </a:lnTo>
                  <a:lnTo>
                    <a:pt x="334" y="92"/>
                  </a:lnTo>
                  <a:lnTo>
                    <a:pt x="342" y="108"/>
                  </a:lnTo>
                  <a:lnTo>
                    <a:pt x="348" y="124"/>
                  </a:lnTo>
                  <a:lnTo>
                    <a:pt x="352" y="142"/>
                  </a:lnTo>
                  <a:lnTo>
                    <a:pt x="354" y="160"/>
                  </a:lnTo>
                  <a:lnTo>
                    <a:pt x="356" y="178"/>
                  </a:lnTo>
                  <a:lnTo>
                    <a:pt x="356" y="178"/>
                  </a:lnTo>
                  <a:lnTo>
                    <a:pt x="354" y="192"/>
                  </a:lnTo>
                  <a:lnTo>
                    <a:pt x="352" y="206"/>
                  </a:lnTo>
                  <a:lnTo>
                    <a:pt x="350" y="222"/>
                  </a:lnTo>
                  <a:lnTo>
                    <a:pt x="346" y="236"/>
                  </a:lnTo>
                  <a:lnTo>
                    <a:pt x="334" y="262"/>
                  </a:lnTo>
                  <a:lnTo>
                    <a:pt x="318" y="286"/>
                  </a:lnTo>
                  <a:lnTo>
                    <a:pt x="298" y="306"/>
                  </a:lnTo>
                  <a:lnTo>
                    <a:pt x="276" y="324"/>
                  </a:lnTo>
                  <a:lnTo>
                    <a:pt x="264" y="332"/>
                  </a:lnTo>
                  <a:lnTo>
                    <a:pt x="250" y="340"/>
                  </a:lnTo>
                  <a:lnTo>
                    <a:pt x="238" y="344"/>
                  </a:lnTo>
                  <a:lnTo>
                    <a:pt x="222" y="350"/>
                  </a:lnTo>
                  <a:lnTo>
                    <a:pt x="222" y="480"/>
                  </a:lnTo>
                  <a:lnTo>
                    <a:pt x="204" y="480"/>
                  </a:lnTo>
                  <a:lnTo>
                    <a:pt x="204" y="342"/>
                  </a:lnTo>
                  <a:lnTo>
                    <a:pt x="204" y="342"/>
                  </a:lnTo>
                  <a:lnTo>
                    <a:pt x="206" y="336"/>
                  </a:lnTo>
                  <a:lnTo>
                    <a:pt x="212" y="334"/>
                  </a:lnTo>
                  <a:lnTo>
                    <a:pt x="212" y="334"/>
                  </a:lnTo>
                  <a:lnTo>
                    <a:pt x="226" y="330"/>
                  </a:lnTo>
                  <a:lnTo>
                    <a:pt x="238" y="324"/>
                  </a:lnTo>
                  <a:lnTo>
                    <a:pt x="262" y="312"/>
                  </a:lnTo>
                  <a:lnTo>
                    <a:pt x="284" y="296"/>
                  </a:lnTo>
                  <a:lnTo>
                    <a:pt x="302" y="278"/>
                  </a:lnTo>
                  <a:lnTo>
                    <a:pt x="316" y="256"/>
                  </a:lnTo>
                  <a:lnTo>
                    <a:pt x="328" y="230"/>
                  </a:lnTo>
                  <a:lnTo>
                    <a:pt x="334" y="204"/>
                  </a:lnTo>
                  <a:lnTo>
                    <a:pt x="336" y="192"/>
                  </a:lnTo>
                  <a:lnTo>
                    <a:pt x="338" y="178"/>
                  </a:lnTo>
                  <a:lnTo>
                    <a:pt x="338" y="178"/>
                  </a:lnTo>
                  <a:lnTo>
                    <a:pt x="336" y="160"/>
                  </a:lnTo>
                  <a:lnTo>
                    <a:pt x="334" y="146"/>
                  </a:lnTo>
                  <a:lnTo>
                    <a:pt x="330" y="130"/>
                  </a:lnTo>
                  <a:lnTo>
                    <a:pt x="324" y="116"/>
                  </a:lnTo>
                  <a:lnTo>
                    <a:pt x="318" y="102"/>
                  </a:lnTo>
                  <a:lnTo>
                    <a:pt x="310" y="88"/>
                  </a:lnTo>
                  <a:lnTo>
                    <a:pt x="300" y="76"/>
                  </a:lnTo>
                  <a:lnTo>
                    <a:pt x="290" y="64"/>
                  </a:lnTo>
                  <a:lnTo>
                    <a:pt x="280" y="54"/>
                  </a:lnTo>
                  <a:lnTo>
                    <a:pt x="266" y="44"/>
                  </a:lnTo>
                  <a:lnTo>
                    <a:pt x="254" y="36"/>
                  </a:lnTo>
                  <a:lnTo>
                    <a:pt x="240" y="30"/>
                  </a:lnTo>
                  <a:lnTo>
                    <a:pt x="226" y="24"/>
                  </a:lnTo>
                  <a:lnTo>
                    <a:pt x="210" y="20"/>
                  </a:lnTo>
                  <a:lnTo>
                    <a:pt x="194" y="18"/>
                  </a:lnTo>
                  <a:lnTo>
                    <a:pt x="178" y="18"/>
                  </a:lnTo>
                  <a:lnTo>
                    <a:pt x="178" y="18"/>
                  </a:lnTo>
                  <a:lnTo>
                    <a:pt x="162" y="18"/>
                  </a:lnTo>
                  <a:lnTo>
                    <a:pt x="146" y="20"/>
                  </a:lnTo>
                  <a:lnTo>
                    <a:pt x="130" y="24"/>
                  </a:lnTo>
                  <a:lnTo>
                    <a:pt x="116" y="30"/>
                  </a:lnTo>
                  <a:lnTo>
                    <a:pt x="102" y="36"/>
                  </a:lnTo>
                  <a:lnTo>
                    <a:pt x="88" y="44"/>
                  </a:lnTo>
                  <a:lnTo>
                    <a:pt x="76" y="54"/>
                  </a:lnTo>
                  <a:lnTo>
                    <a:pt x="64" y="64"/>
                  </a:lnTo>
                  <a:lnTo>
                    <a:pt x="54" y="76"/>
                  </a:lnTo>
                  <a:lnTo>
                    <a:pt x="46" y="88"/>
                  </a:lnTo>
                  <a:lnTo>
                    <a:pt x="38" y="102"/>
                  </a:lnTo>
                  <a:lnTo>
                    <a:pt x="30" y="116"/>
                  </a:lnTo>
                  <a:lnTo>
                    <a:pt x="26" y="130"/>
                  </a:lnTo>
                  <a:lnTo>
                    <a:pt x="22" y="146"/>
                  </a:lnTo>
                  <a:lnTo>
                    <a:pt x="18" y="160"/>
                  </a:lnTo>
                  <a:lnTo>
                    <a:pt x="18" y="178"/>
                  </a:lnTo>
                  <a:lnTo>
                    <a:pt x="18" y="178"/>
                  </a:lnTo>
                  <a:lnTo>
                    <a:pt x="18" y="192"/>
                  </a:lnTo>
                  <a:lnTo>
                    <a:pt x="20" y="204"/>
                  </a:lnTo>
                  <a:lnTo>
                    <a:pt x="28" y="230"/>
                  </a:lnTo>
                  <a:lnTo>
                    <a:pt x="38" y="256"/>
                  </a:lnTo>
                  <a:lnTo>
                    <a:pt x="54" y="278"/>
                  </a:lnTo>
                  <a:lnTo>
                    <a:pt x="72" y="296"/>
                  </a:lnTo>
                  <a:lnTo>
                    <a:pt x="94" y="312"/>
                  </a:lnTo>
                  <a:lnTo>
                    <a:pt x="118" y="324"/>
                  </a:lnTo>
                  <a:lnTo>
                    <a:pt x="130" y="330"/>
                  </a:lnTo>
                  <a:lnTo>
                    <a:pt x="144" y="334"/>
                  </a:lnTo>
                  <a:lnTo>
                    <a:pt x="144" y="334"/>
                  </a:lnTo>
                  <a:lnTo>
                    <a:pt x="148" y="336"/>
                  </a:lnTo>
                  <a:lnTo>
                    <a:pt x="150" y="342"/>
                  </a:lnTo>
                  <a:lnTo>
                    <a:pt x="150" y="4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1" name="Rectangle 138">
              <a:extLst>
                <a:ext uri="{FF2B5EF4-FFF2-40B4-BE49-F238E27FC236}">
                  <a16:creationId xmlns:a16="http://schemas.microsoft.com/office/drawing/2014/main" id="{652C810B-37F4-4FC8-9573-99F183C917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36925" y="5022850"/>
              <a:ext cx="28575" cy="285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2" name="Rectangle 139">
              <a:extLst>
                <a:ext uri="{FF2B5EF4-FFF2-40B4-BE49-F238E27FC236}">
                  <a16:creationId xmlns:a16="http://schemas.microsoft.com/office/drawing/2014/main" id="{C73A98D5-8029-4F1C-A9E0-F3F0BC9F05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19475" y="5022850"/>
              <a:ext cx="28575" cy="285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3" name="Rectangle 140">
              <a:extLst>
                <a:ext uri="{FF2B5EF4-FFF2-40B4-BE49-F238E27FC236}">
                  <a16:creationId xmlns:a16="http://schemas.microsoft.com/office/drawing/2014/main" id="{4FC2864E-E6B1-491A-8F86-BD14DE7365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8850" y="5022850"/>
              <a:ext cx="28575" cy="285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44" name="Group 42">
            <a:extLst>
              <a:ext uri="{FF2B5EF4-FFF2-40B4-BE49-F238E27FC236}">
                <a16:creationId xmlns:a16="http://schemas.microsoft.com/office/drawing/2014/main" id="{234ECE14-4EE8-473A-84FF-BC01C6B5F45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299837" y="4447875"/>
            <a:ext cx="612065" cy="394717"/>
            <a:chOff x="3049" y="909"/>
            <a:chExt cx="980" cy="632"/>
          </a:xfrm>
          <a:solidFill>
            <a:schemeClr val="bg1"/>
          </a:solidFill>
        </p:grpSpPr>
        <p:sp>
          <p:nvSpPr>
            <p:cNvPr id="145" name="Rectangle 43">
              <a:extLst>
                <a:ext uri="{FF2B5EF4-FFF2-40B4-BE49-F238E27FC236}">
                  <a16:creationId xmlns:a16="http://schemas.microsoft.com/office/drawing/2014/main" id="{B18B0DEF-45F5-4A33-95A0-B661EE2FDB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89" y="957"/>
              <a:ext cx="18" cy="6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Rectangle 44">
              <a:extLst>
                <a:ext uri="{FF2B5EF4-FFF2-40B4-BE49-F238E27FC236}">
                  <a16:creationId xmlns:a16="http://schemas.microsoft.com/office/drawing/2014/main" id="{1FBF01AB-CDF9-4503-9771-499203392C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89" y="1031"/>
              <a:ext cx="18" cy="2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Rectangle 45">
              <a:extLst>
                <a:ext uri="{FF2B5EF4-FFF2-40B4-BE49-F238E27FC236}">
                  <a16:creationId xmlns:a16="http://schemas.microsoft.com/office/drawing/2014/main" id="{A37C3C26-8875-4039-8426-EA0412AC52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55" y="909"/>
              <a:ext cx="18" cy="6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Rectangle 46">
              <a:extLst>
                <a:ext uri="{FF2B5EF4-FFF2-40B4-BE49-F238E27FC236}">
                  <a16:creationId xmlns:a16="http://schemas.microsoft.com/office/drawing/2014/main" id="{4295EFB8-83AE-4B0A-9C79-F3573AEE2C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55" y="983"/>
              <a:ext cx="18" cy="2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Rectangle 47">
              <a:extLst>
                <a:ext uri="{FF2B5EF4-FFF2-40B4-BE49-F238E27FC236}">
                  <a16:creationId xmlns:a16="http://schemas.microsoft.com/office/drawing/2014/main" id="{E8FD92FD-72AF-428C-A7D5-FD7BAAEA4E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9" y="969"/>
              <a:ext cx="18" cy="6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Rectangle 48">
              <a:extLst>
                <a:ext uri="{FF2B5EF4-FFF2-40B4-BE49-F238E27FC236}">
                  <a16:creationId xmlns:a16="http://schemas.microsoft.com/office/drawing/2014/main" id="{E7DA7A58-E142-4D44-9CAD-F45C86272C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9" y="1043"/>
              <a:ext cx="18" cy="2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49">
              <a:extLst>
                <a:ext uri="{FF2B5EF4-FFF2-40B4-BE49-F238E27FC236}">
                  <a16:creationId xmlns:a16="http://schemas.microsoft.com/office/drawing/2014/main" id="{0E57087A-11F6-4D1A-9FAB-9E34490A9D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5" y="1229"/>
              <a:ext cx="88" cy="154"/>
            </a:xfrm>
            <a:custGeom>
              <a:avLst/>
              <a:gdLst>
                <a:gd name="T0" fmla="*/ 26 w 88"/>
                <a:gd name="T1" fmla="*/ 154 h 154"/>
                <a:gd name="T2" fmla="*/ 16 w 88"/>
                <a:gd name="T3" fmla="*/ 152 h 154"/>
                <a:gd name="T4" fmla="*/ 2 w 88"/>
                <a:gd name="T5" fmla="*/ 138 h 154"/>
                <a:gd name="T6" fmla="*/ 0 w 88"/>
                <a:gd name="T7" fmla="*/ 110 h 154"/>
                <a:gd name="T8" fmla="*/ 18 w 88"/>
                <a:gd name="T9" fmla="*/ 128 h 154"/>
                <a:gd name="T10" fmla="*/ 20 w 88"/>
                <a:gd name="T11" fmla="*/ 132 h 154"/>
                <a:gd name="T12" fmla="*/ 24 w 88"/>
                <a:gd name="T13" fmla="*/ 136 h 154"/>
                <a:gd name="T14" fmla="*/ 62 w 88"/>
                <a:gd name="T15" fmla="*/ 136 h 154"/>
                <a:gd name="T16" fmla="*/ 64 w 88"/>
                <a:gd name="T17" fmla="*/ 136 h 154"/>
                <a:gd name="T18" fmla="*/ 68 w 88"/>
                <a:gd name="T19" fmla="*/ 132 h 154"/>
                <a:gd name="T20" fmla="*/ 70 w 88"/>
                <a:gd name="T21" fmla="*/ 94 h 154"/>
                <a:gd name="T22" fmla="*/ 68 w 88"/>
                <a:gd name="T23" fmla="*/ 90 h 154"/>
                <a:gd name="T24" fmla="*/ 64 w 88"/>
                <a:gd name="T25" fmla="*/ 86 h 154"/>
                <a:gd name="T26" fmla="*/ 26 w 88"/>
                <a:gd name="T27" fmla="*/ 86 h 154"/>
                <a:gd name="T28" fmla="*/ 16 w 88"/>
                <a:gd name="T29" fmla="*/ 84 h 154"/>
                <a:gd name="T30" fmla="*/ 2 w 88"/>
                <a:gd name="T31" fmla="*/ 70 h 154"/>
                <a:gd name="T32" fmla="*/ 0 w 88"/>
                <a:gd name="T33" fmla="*/ 26 h 154"/>
                <a:gd name="T34" fmla="*/ 2 w 88"/>
                <a:gd name="T35" fmla="*/ 16 h 154"/>
                <a:gd name="T36" fmla="*/ 16 w 88"/>
                <a:gd name="T37" fmla="*/ 2 h 154"/>
                <a:gd name="T38" fmla="*/ 62 w 88"/>
                <a:gd name="T39" fmla="*/ 0 h 154"/>
                <a:gd name="T40" fmla="*/ 72 w 88"/>
                <a:gd name="T41" fmla="*/ 2 h 154"/>
                <a:gd name="T42" fmla="*/ 84 w 88"/>
                <a:gd name="T43" fmla="*/ 16 h 154"/>
                <a:gd name="T44" fmla="*/ 88 w 88"/>
                <a:gd name="T45" fmla="*/ 42 h 154"/>
                <a:gd name="T46" fmla="*/ 70 w 88"/>
                <a:gd name="T47" fmla="*/ 26 h 154"/>
                <a:gd name="T48" fmla="*/ 68 w 88"/>
                <a:gd name="T49" fmla="*/ 22 h 154"/>
                <a:gd name="T50" fmla="*/ 64 w 88"/>
                <a:gd name="T51" fmla="*/ 18 h 154"/>
                <a:gd name="T52" fmla="*/ 26 w 88"/>
                <a:gd name="T53" fmla="*/ 18 h 154"/>
                <a:gd name="T54" fmla="*/ 24 w 88"/>
                <a:gd name="T55" fmla="*/ 18 h 154"/>
                <a:gd name="T56" fmla="*/ 20 w 88"/>
                <a:gd name="T57" fmla="*/ 22 h 154"/>
                <a:gd name="T58" fmla="*/ 18 w 88"/>
                <a:gd name="T59" fmla="*/ 60 h 154"/>
                <a:gd name="T60" fmla="*/ 20 w 88"/>
                <a:gd name="T61" fmla="*/ 62 h 154"/>
                <a:gd name="T62" fmla="*/ 24 w 88"/>
                <a:gd name="T63" fmla="*/ 68 h 154"/>
                <a:gd name="T64" fmla="*/ 62 w 88"/>
                <a:gd name="T65" fmla="*/ 68 h 154"/>
                <a:gd name="T66" fmla="*/ 72 w 88"/>
                <a:gd name="T67" fmla="*/ 70 h 154"/>
                <a:gd name="T68" fmla="*/ 84 w 88"/>
                <a:gd name="T69" fmla="*/ 84 h 154"/>
                <a:gd name="T70" fmla="*/ 88 w 88"/>
                <a:gd name="T71" fmla="*/ 128 h 154"/>
                <a:gd name="T72" fmla="*/ 84 w 88"/>
                <a:gd name="T73" fmla="*/ 138 h 154"/>
                <a:gd name="T74" fmla="*/ 72 w 88"/>
                <a:gd name="T75" fmla="*/ 152 h 154"/>
                <a:gd name="T76" fmla="*/ 62 w 88"/>
                <a:gd name="T77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8" h="154">
                  <a:moveTo>
                    <a:pt x="62" y="154"/>
                  </a:moveTo>
                  <a:lnTo>
                    <a:pt x="26" y="154"/>
                  </a:lnTo>
                  <a:lnTo>
                    <a:pt x="26" y="154"/>
                  </a:lnTo>
                  <a:lnTo>
                    <a:pt x="16" y="152"/>
                  </a:lnTo>
                  <a:lnTo>
                    <a:pt x="8" y="146"/>
                  </a:lnTo>
                  <a:lnTo>
                    <a:pt x="2" y="138"/>
                  </a:lnTo>
                  <a:lnTo>
                    <a:pt x="0" y="128"/>
                  </a:lnTo>
                  <a:lnTo>
                    <a:pt x="0" y="110"/>
                  </a:lnTo>
                  <a:lnTo>
                    <a:pt x="18" y="110"/>
                  </a:lnTo>
                  <a:lnTo>
                    <a:pt x="18" y="128"/>
                  </a:lnTo>
                  <a:lnTo>
                    <a:pt x="18" y="128"/>
                  </a:lnTo>
                  <a:lnTo>
                    <a:pt x="20" y="132"/>
                  </a:lnTo>
                  <a:lnTo>
                    <a:pt x="20" y="134"/>
                  </a:lnTo>
                  <a:lnTo>
                    <a:pt x="24" y="136"/>
                  </a:lnTo>
                  <a:lnTo>
                    <a:pt x="26" y="136"/>
                  </a:lnTo>
                  <a:lnTo>
                    <a:pt x="62" y="136"/>
                  </a:lnTo>
                  <a:lnTo>
                    <a:pt x="62" y="136"/>
                  </a:lnTo>
                  <a:lnTo>
                    <a:pt x="64" y="136"/>
                  </a:lnTo>
                  <a:lnTo>
                    <a:pt x="66" y="134"/>
                  </a:lnTo>
                  <a:lnTo>
                    <a:pt x="68" y="132"/>
                  </a:lnTo>
                  <a:lnTo>
                    <a:pt x="70" y="128"/>
                  </a:lnTo>
                  <a:lnTo>
                    <a:pt x="70" y="94"/>
                  </a:lnTo>
                  <a:lnTo>
                    <a:pt x="70" y="94"/>
                  </a:lnTo>
                  <a:lnTo>
                    <a:pt x="68" y="90"/>
                  </a:lnTo>
                  <a:lnTo>
                    <a:pt x="66" y="88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26" y="86"/>
                  </a:lnTo>
                  <a:lnTo>
                    <a:pt x="26" y="86"/>
                  </a:lnTo>
                  <a:lnTo>
                    <a:pt x="16" y="84"/>
                  </a:lnTo>
                  <a:lnTo>
                    <a:pt x="8" y="78"/>
                  </a:lnTo>
                  <a:lnTo>
                    <a:pt x="2" y="70"/>
                  </a:lnTo>
                  <a:lnTo>
                    <a:pt x="0" y="60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6"/>
                  </a:lnTo>
                  <a:lnTo>
                    <a:pt x="16" y="2"/>
                  </a:lnTo>
                  <a:lnTo>
                    <a:pt x="26" y="0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72" y="2"/>
                  </a:lnTo>
                  <a:lnTo>
                    <a:pt x="80" y="6"/>
                  </a:lnTo>
                  <a:lnTo>
                    <a:pt x="84" y="16"/>
                  </a:lnTo>
                  <a:lnTo>
                    <a:pt x="88" y="26"/>
                  </a:lnTo>
                  <a:lnTo>
                    <a:pt x="88" y="42"/>
                  </a:lnTo>
                  <a:lnTo>
                    <a:pt x="70" y="42"/>
                  </a:lnTo>
                  <a:lnTo>
                    <a:pt x="70" y="26"/>
                  </a:lnTo>
                  <a:lnTo>
                    <a:pt x="70" y="26"/>
                  </a:lnTo>
                  <a:lnTo>
                    <a:pt x="68" y="22"/>
                  </a:lnTo>
                  <a:lnTo>
                    <a:pt x="66" y="20"/>
                  </a:lnTo>
                  <a:lnTo>
                    <a:pt x="64" y="18"/>
                  </a:lnTo>
                  <a:lnTo>
                    <a:pt x="62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4" y="18"/>
                  </a:lnTo>
                  <a:lnTo>
                    <a:pt x="20" y="20"/>
                  </a:lnTo>
                  <a:lnTo>
                    <a:pt x="20" y="22"/>
                  </a:lnTo>
                  <a:lnTo>
                    <a:pt x="18" y="26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20" y="62"/>
                  </a:lnTo>
                  <a:lnTo>
                    <a:pt x="20" y="66"/>
                  </a:lnTo>
                  <a:lnTo>
                    <a:pt x="24" y="68"/>
                  </a:lnTo>
                  <a:lnTo>
                    <a:pt x="26" y="68"/>
                  </a:lnTo>
                  <a:lnTo>
                    <a:pt x="62" y="68"/>
                  </a:lnTo>
                  <a:lnTo>
                    <a:pt x="62" y="68"/>
                  </a:lnTo>
                  <a:lnTo>
                    <a:pt x="72" y="70"/>
                  </a:lnTo>
                  <a:lnTo>
                    <a:pt x="80" y="76"/>
                  </a:lnTo>
                  <a:lnTo>
                    <a:pt x="84" y="84"/>
                  </a:lnTo>
                  <a:lnTo>
                    <a:pt x="88" y="94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4" y="138"/>
                  </a:lnTo>
                  <a:lnTo>
                    <a:pt x="80" y="146"/>
                  </a:lnTo>
                  <a:lnTo>
                    <a:pt x="72" y="152"/>
                  </a:lnTo>
                  <a:lnTo>
                    <a:pt x="62" y="154"/>
                  </a:lnTo>
                  <a:lnTo>
                    <a:pt x="62" y="1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Rectangle 50">
              <a:extLst>
                <a:ext uri="{FF2B5EF4-FFF2-40B4-BE49-F238E27FC236}">
                  <a16:creationId xmlns:a16="http://schemas.microsoft.com/office/drawing/2014/main" id="{D2959E55-F028-4A81-BEC8-8401690681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9" y="1219"/>
              <a:ext cx="18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Rectangle 51">
              <a:extLst>
                <a:ext uri="{FF2B5EF4-FFF2-40B4-BE49-F238E27FC236}">
                  <a16:creationId xmlns:a16="http://schemas.microsoft.com/office/drawing/2014/main" id="{5B265FE1-43E1-4F6B-B0A5-7317E31B10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9" y="1373"/>
              <a:ext cx="18" cy="2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Rectangle 52">
              <a:extLst>
                <a:ext uri="{FF2B5EF4-FFF2-40B4-BE49-F238E27FC236}">
                  <a16:creationId xmlns:a16="http://schemas.microsoft.com/office/drawing/2014/main" id="{29D6A5FF-BC92-4DBB-BF41-550C81D400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49" y="1301"/>
              <a:ext cx="22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Rectangle 53">
              <a:extLst>
                <a:ext uri="{FF2B5EF4-FFF2-40B4-BE49-F238E27FC236}">
                  <a16:creationId xmlns:a16="http://schemas.microsoft.com/office/drawing/2014/main" id="{78CA1BB3-3C79-4CB9-90B5-AAF60FC0FF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1" y="1301"/>
              <a:ext cx="22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54">
              <a:extLst>
                <a:ext uri="{FF2B5EF4-FFF2-40B4-BE49-F238E27FC236}">
                  <a16:creationId xmlns:a16="http://schemas.microsoft.com/office/drawing/2014/main" id="{2AFF1E29-C46F-42C7-8B0E-63B3EB5F7B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49" y="1019"/>
              <a:ext cx="174" cy="60"/>
            </a:xfrm>
            <a:custGeom>
              <a:avLst/>
              <a:gdLst>
                <a:gd name="T0" fmla="*/ 144 w 174"/>
                <a:gd name="T1" fmla="*/ 60 h 60"/>
                <a:gd name="T2" fmla="*/ 30 w 174"/>
                <a:gd name="T3" fmla="*/ 60 h 60"/>
                <a:gd name="T4" fmla="*/ 30 w 174"/>
                <a:gd name="T5" fmla="*/ 60 h 60"/>
                <a:gd name="T6" fmla="*/ 24 w 174"/>
                <a:gd name="T7" fmla="*/ 60 h 60"/>
                <a:gd name="T8" fmla="*/ 18 w 174"/>
                <a:gd name="T9" fmla="*/ 58 h 60"/>
                <a:gd name="T10" fmla="*/ 10 w 174"/>
                <a:gd name="T11" fmla="*/ 52 h 60"/>
                <a:gd name="T12" fmla="*/ 2 w 174"/>
                <a:gd name="T13" fmla="*/ 42 h 60"/>
                <a:gd name="T14" fmla="*/ 0 w 174"/>
                <a:gd name="T15" fmla="*/ 36 h 60"/>
                <a:gd name="T16" fmla="*/ 0 w 174"/>
                <a:gd name="T17" fmla="*/ 30 h 60"/>
                <a:gd name="T18" fmla="*/ 0 w 174"/>
                <a:gd name="T19" fmla="*/ 30 h 60"/>
                <a:gd name="T20" fmla="*/ 0 w 174"/>
                <a:gd name="T21" fmla="*/ 24 h 60"/>
                <a:gd name="T22" fmla="*/ 2 w 174"/>
                <a:gd name="T23" fmla="*/ 18 h 60"/>
                <a:gd name="T24" fmla="*/ 10 w 174"/>
                <a:gd name="T25" fmla="*/ 8 h 60"/>
                <a:gd name="T26" fmla="*/ 18 w 174"/>
                <a:gd name="T27" fmla="*/ 2 h 60"/>
                <a:gd name="T28" fmla="*/ 24 w 174"/>
                <a:gd name="T29" fmla="*/ 0 h 60"/>
                <a:gd name="T30" fmla="*/ 30 w 174"/>
                <a:gd name="T31" fmla="*/ 0 h 60"/>
                <a:gd name="T32" fmla="*/ 144 w 174"/>
                <a:gd name="T33" fmla="*/ 0 h 60"/>
                <a:gd name="T34" fmla="*/ 144 w 174"/>
                <a:gd name="T35" fmla="*/ 0 h 60"/>
                <a:gd name="T36" fmla="*/ 150 w 174"/>
                <a:gd name="T37" fmla="*/ 0 h 60"/>
                <a:gd name="T38" fmla="*/ 156 w 174"/>
                <a:gd name="T39" fmla="*/ 2 h 60"/>
                <a:gd name="T40" fmla="*/ 166 w 174"/>
                <a:gd name="T41" fmla="*/ 8 h 60"/>
                <a:gd name="T42" fmla="*/ 172 w 174"/>
                <a:gd name="T43" fmla="*/ 18 h 60"/>
                <a:gd name="T44" fmla="*/ 174 w 174"/>
                <a:gd name="T45" fmla="*/ 24 h 60"/>
                <a:gd name="T46" fmla="*/ 174 w 174"/>
                <a:gd name="T47" fmla="*/ 30 h 60"/>
                <a:gd name="T48" fmla="*/ 174 w 174"/>
                <a:gd name="T49" fmla="*/ 30 h 60"/>
                <a:gd name="T50" fmla="*/ 174 w 174"/>
                <a:gd name="T51" fmla="*/ 36 h 60"/>
                <a:gd name="T52" fmla="*/ 172 w 174"/>
                <a:gd name="T53" fmla="*/ 42 h 60"/>
                <a:gd name="T54" fmla="*/ 166 w 174"/>
                <a:gd name="T55" fmla="*/ 52 h 60"/>
                <a:gd name="T56" fmla="*/ 156 w 174"/>
                <a:gd name="T57" fmla="*/ 58 h 60"/>
                <a:gd name="T58" fmla="*/ 150 w 174"/>
                <a:gd name="T59" fmla="*/ 60 h 60"/>
                <a:gd name="T60" fmla="*/ 144 w 174"/>
                <a:gd name="T61" fmla="*/ 60 h 60"/>
                <a:gd name="T62" fmla="*/ 144 w 174"/>
                <a:gd name="T63" fmla="*/ 60 h 60"/>
                <a:gd name="T64" fmla="*/ 30 w 174"/>
                <a:gd name="T65" fmla="*/ 18 h 60"/>
                <a:gd name="T66" fmla="*/ 30 w 174"/>
                <a:gd name="T67" fmla="*/ 18 h 60"/>
                <a:gd name="T68" fmla="*/ 26 w 174"/>
                <a:gd name="T69" fmla="*/ 18 h 60"/>
                <a:gd name="T70" fmla="*/ 22 w 174"/>
                <a:gd name="T71" fmla="*/ 22 h 60"/>
                <a:gd name="T72" fmla="*/ 20 w 174"/>
                <a:gd name="T73" fmla="*/ 26 h 60"/>
                <a:gd name="T74" fmla="*/ 18 w 174"/>
                <a:gd name="T75" fmla="*/ 30 h 60"/>
                <a:gd name="T76" fmla="*/ 18 w 174"/>
                <a:gd name="T77" fmla="*/ 30 h 60"/>
                <a:gd name="T78" fmla="*/ 20 w 174"/>
                <a:gd name="T79" fmla="*/ 36 h 60"/>
                <a:gd name="T80" fmla="*/ 22 w 174"/>
                <a:gd name="T81" fmla="*/ 40 h 60"/>
                <a:gd name="T82" fmla="*/ 26 w 174"/>
                <a:gd name="T83" fmla="*/ 42 h 60"/>
                <a:gd name="T84" fmla="*/ 30 w 174"/>
                <a:gd name="T85" fmla="*/ 42 h 60"/>
                <a:gd name="T86" fmla="*/ 144 w 174"/>
                <a:gd name="T87" fmla="*/ 42 h 60"/>
                <a:gd name="T88" fmla="*/ 144 w 174"/>
                <a:gd name="T89" fmla="*/ 42 h 60"/>
                <a:gd name="T90" fmla="*/ 150 w 174"/>
                <a:gd name="T91" fmla="*/ 42 h 60"/>
                <a:gd name="T92" fmla="*/ 154 w 174"/>
                <a:gd name="T93" fmla="*/ 40 h 60"/>
                <a:gd name="T94" fmla="*/ 156 w 174"/>
                <a:gd name="T95" fmla="*/ 36 h 60"/>
                <a:gd name="T96" fmla="*/ 156 w 174"/>
                <a:gd name="T97" fmla="*/ 30 h 60"/>
                <a:gd name="T98" fmla="*/ 156 w 174"/>
                <a:gd name="T99" fmla="*/ 30 h 60"/>
                <a:gd name="T100" fmla="*/ 156 w 174"/>
                <a:gd name="T101" fmla="*/ 26 h 60"/>
                <a:gd name="T102" fmla="*/ 154 w 174"/>
                <a:gd name="T103" fmla="*/ 22 h 60"/>
                <a:gd name="T104" fmla="*/ 150 w 174"/>
                <a:gd name="T105" fmla="*/ 18 h 60"/>
                <a:gd name="T106" fmla="*/ 144 w 174"/>
                <a:gd name="T107" fmla="*/ 18 h 60"/>
                <a:gd name="T108" fmla="*/ 30 w 174"/>
                <a:gd name="T109" fmla="*/ 1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4" h="60">
                  <a:moveTo>
                    <a:pt x="144" y="60"/>
                  </a:moveTo>
                  <a:lnTo>
                    <a:pt x="30" y="60"/>
                  </a:lnTo>
                  <a:lnTo>
                    <a:pt x="30" y="60"/>
                  </a:lnTo>
                  <a:lnTo>
                    <a:pt x="24" y="60"/>
                  </a:lnTo>
                  <a:lnTo>
                    <a:pt x="18" y="58"/>
                  </a:lnTo>
                  <a:lnTo>
                    <a:pt x="10" y="52"/>
                  </a:lnTo>
                  <a:lnTo>
                    <a:pt x="2" y="42"/>
                  </a:lnTo>
                  <a:lnTo>
                    <a:pt x="0" y="36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2" y="18"/>
                  </a:lnTo>
                  <a:lnTo>
                    <a:pt x="10" y="8"/>
                  </a:lnTo>
                  <a:lnTo>
                    <a:pt x="18" y="2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144" y="0"/>
                  </a:lnTo>
                  <a:lnTo>
                    <a:pt x="144" y="0"/>
                  </a:lnTo>
                  <a:lnTo>
                    <a:pt x="150" y="0"/>
                  </a:lnTo>
                  <a:lnTo>
                    <a:pt x="156" y="2"/>
                  </a:lnTo>
                  <a:lnTo>
                    <a:pt x="166" y="8"/>
                  </a:lnTo>
                  <a:lnTo>
                    <a:pt x="172" y="18"/>
                  </a:lnTo>
                  <a:lnTo>
                    <a:pt x="174" y="24"/>
                  </a:lnTo>
                  <a:lnTo>
                    <a:pt x="174" y="30"/>
                  </a:lnTo>
                  <a:lnTo>
                    <a:pt x="174" y="30"/>
                  </a:lnTo>
                  <a:lnTo>
                    <a:pt x="174" y="36"/>
                  </a:lnTo>
                  <a:lnTo>
                    <a:pt x="172" y="42"/>
                  </a:lnTo>
                  <a:lnTo>
                    <a:pt x="166" y="52"/>
                  </a:lnTo>
                  <a:lnTo>
                    <a:pt x="156" y="58"/>
                  </a:lnTo>
                  <a:lnTo>
                    <a:pt x="150" y="60"/>
                  </a:lnTo>
                  <a:lnTo>
                    <a:pt x="144" y="60"/>
                  </a:lnTo>
                  <a:lnTo>
                    <a:pt x="144" y="60"/>
                  </a:lnTo>
                  <a:close/>
                  <a:moveTo>
                    <a:pt x="30" y="18"/>
                  </a:moveTo>
                  <a:lnTo>
                    <a:pt x="30" y="18"/>
                  </a:lnTo>
                  <a:lnTo>
                    <a:pt x="26" y="18"/>
                  </a:lnTo>
                  <a:lnTo>
                    <a:pt x="22" y="22"/>
                  </a:lnTo>
                  <a:lnTo>
                    <a:pt x="20" y="26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20" y="36"/>
                  </a:lnTo>
                  <a:lnTo>
                    <a:pt x="22" y="40"/>
                  </a:lnTo>
                  <a:lnTo>
                    <a:pt x="26" y="42"/>
                  </a:lnTo>
                  <a:lnTo>
                    <a:pt x="30" y="42"/>
                  </a:lnTo>
                  <a:lnTo>
                    <a:pt x="144" y="42"/>
                  </a:lnTo>
                  <a:lnTo>
                    <a:pt x="144" y="42"/>
                  </a:lnTo>
                  <a:lnTo>
                    <a:pt x="150" y="42"/>
                  </a:lnTo>
                  <a:lnTo>
                    <a:pt x="154" y="40"/>
                  </a:lnTo>
                  <a:lnTo>
                    <a:pt x="156" y="36"/>
                  </a:lnTo>
                  <a:lnTo>
                    <a:pt x="156" y="30"/>
                  </a:lnTo>
                  <a:lnTo>
                    <a:pt x="156" y="30"/>
                  </a:lnTo>
                  <a:lnTo>
                    <a:pt x="156" y="26"/>
                  </a:lnTo>
                  <a:lnTo>
                    <a:pt x="154" y="2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30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55">
              <a:extLst>
                <a:ext uri="{FF2B5EF4-FFF2-40B4-BE49-F238E27FC236}">
                  <a16:creationId xmlns:a16="http://schemas.microsoft.com/office/drawing/2014/main" id="{D7910D96-FB7B-44B9-B572-9E33443B5C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45" y="909"/>
              <a:ext cx="184" cy="128"/>
            </a:xfrm>
            <a:custGeom>
              <a:avLst/>
              <a:gdLst>
                <a:gd name="T0" fmla="*/ 138 w 184"/>
                <a:gd name="T1" fmla="*/ 128 h 128"/>
                <a:gd name="T2" fmla="*/ 46 w 184"/>
                <a:gd name="T3" fmla="*/ 128 h 128"/>
                <a:gd name="T4" fmla="*/ 4 w 184"/>
                <a:gd name="T5" fmla="*/ 52 h 128"/>
                <a:gd name="T6" fmla="*/ 4 w 184"/>
                <a:gd name="T7" fmla="*/ 52 h 128"/>
                <a:gd name="T8" fmla="*/ 0 w 184"/>
                <a:gd name="T9" fmla="*/ 44 h 128"/>
                <a:gd name="T10" fmla="*/ 0 w 184"/>
                <a:gd name="T11" fmla="*/ 34 h 128"/>
                <a:gd name="T12" fmla="*/ 0 w 184"/>
                <a:gd name="T13" fmla="*/ 26 h 128"/>
                <a:gd name="T14" fmla="*/ 4 w 184"/>
                <a:gd name="T15" fmla="*/ 16 h 128"/>
                <a:gd name="T16" fmla="*/ 4 w 184"/>
                <a:gd name="T17" fmla="*/ 16 h 128"/>
                <a:gd name="T18" fmla="*/ 10 w 184"/>
                <a:gd name="T19" fmla="*/ 10 h 128"/>
                <a:gd name="T20" fmla="*/ 16 w 184"/>
                <a:gd name="T21" fmla="*/ 4 h 128"/>
                <a:gd name="T22" fmla="*/ 26 w 184"/>
                <a:gd name="T23" fmla="*/ 0 h 128"/>
                <a:gd name="T24" fmla="*/ 34 w 184"/>
                <a:gd name="T25" fmla="*/ 0 h 128"/>
                <a:gd name="T26" fmla="*/ 148 w 184"/>
                <a:gd name="T27" fmla="*/ 0 h 128"/>
                <a:gd name="T28" fmla="*/ 148 w 184"/>
                <a:gd name="T29" fmla="*/ 0 h 128"/>
                <a:gd name="T30" fmla="*/ 158 w 184"/>
                <a:gd name="T31" fmla="*/ 0 h 128"/>
                <a:gd name="T32" fmla="*/ 166 w 184"/>
                <a:gd name="T33" fmla="*/ 4 h 128"/>
                <a:gd name="T34" fmla="*/ 174 w 184"/>
                <a:gd name="T35" fmla="*/ 10 h 128"/>
                <a:gd name="T36" fmla="*/ 178 w 184"/>
                <a:gd name="T37" fmla="*/ 16 h 128"/>
                <a:gd name="T38" fmla="*/ 178 w 184"/>
                <a:gd name="T39" fmla="*/ 16 h 128"/>
                <a:gd name="T40" fmla="*/ 182 w 184"/>
                <a:gd name="T41" fmla="*/ 26 h 128"/>
                <a:gd name="T42" fmla="*/ 184 w 184"/>
                <a:gd name="T43" fmla="*/ 34 h 128"/>
                <a:gd name="T44" fmla="*/ 182 w 184"/>
                <a:gd name="T45" fmla="*/ 44 h 128"/>
                <a:gd name="T46" fmla="*/ 180 w 184"/>
                <a:gd name="T47" fmla="*/ 52 h 128"/>
                <a:gd name="T48" fmla="*/ 138 w 184"/>
                <a:gd name="T49" fmla="*/ 128 h 128"/>
                <a:gd name="T50" fmla="*/ 56 w 184"/>
                <a:gd name="T51" fmla="*/ 110 h 128"/>
                <a:gd name="T52" fmla="*/ 128 w 184"/>
                <a:gd name="T53" fmla="*/ 110 h 128"/>
                <a:gd name="T54" fmla="*/ 164 w 184"/>
                <a:gd name="T55" fmla="*/ 44 h 128"/>
                <a:gd name="T56" fmla="*/ 164 w 184"/>
                <a:gd name="T57" fmla="*/ 44 h 128"/>
                <a:gd name="T58" fmla="*/ 166 w 184"/>
                <a:gd name="T59" fmla="*/ 34 h 128"/>
                <a:gd name="T60" fmla="*/ 164 w 184"/>
                <a:gd name="T61" fmla="*/ 26 h 128"/>
                <a:gd name="T62" fmla="*/ 164 w 184"/>
                <a:gd name="T63" fmla="*/ 26 h 128"/>
                <a:gd name="T64" fmla="*/ 158 w 184"/>
                <a:gd name="T65" fmla="*/ 20 h 128"/>
                <a:gd name="T66" fmla="*/ 148 w 184"/>
                <a:gd name="T67" fmla="*/ 18 h 128"/>
                <a:gd name="T68" fmla="*/ 34 w 184"/>
                <a:gd name="T69" fmla="*/ 18 h 128"/>
                <a:gd name="T70" fmla="*/ 34 w 184"/>
                <a:gd name="T71" fmla="*/ 18 h 128"/>
                <a:gd name="T72" fmla="*/ 26 w 184"/>
                <a:gd name="T73" fmla="*/ 20 h 128"/>
                <a:gd name="T74" fmla="*/ 20 w 184"/>
                <a:gd name="T75" fmla="*/ 26 h 128"/>
                <a:gd name="T76" fmla="*/ 20 w 184"/>
                <a:gd name="T77" fmla="*/ 26 h 128"/>
                <a:gd name="T78" fmla="*/ 18 w 184"/>
                <a:gd name="T79" fmla="*/ 34 h 128"/>
                <a:gd name="T80" fmla="*/ 20 w 184"/>
                <a:gd name="T81" fmla="*/ 44 h 128"/>
                <a:gd name="T82" fmla="*/ 56 w 184"/>
                <a:gd name="T83" fmla="*/ 11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84" h="128">
                  <a:moveTo>
                    <a:pt x="138" y="128"/>
                  </a:moveTo>
                  <a:lnTo>
                    <a:pt x="46" y="128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0" y="44"/>
                  </a:lnTo>
                  <a:lnTo>
                    <a:pt x="0" y="34"/>
                  </a:lnTo>
                  <a:lnTo>
                    <a:pt x="0" y="2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10" y="10"/>
                  </a:lnTo>
                  <a:lnTo>
                    <a:pt x="16" y="4"/>
                  </a:lnTo>
                  <a:lnTo>
                    <a:pt x="26" y="0"/>
                  </a:lnTo>
                  <a:lnTo>
                    <a:pt x="34" y="0"/>
                  </a:lnTo>
                  <a:lnTo>
                    <a:pt x="148" y="0"/>
                  </a:lnTo>
                  <a:lnTo>
                    <a:pt x="148" y="0"/>
                  </a:lnTo>
                  <a:lnTo>
                    <a:pt x="158" y="0"/>
                  </a:lnTo>
                  <a:lnTo>
                    <a:pt x="166" y="4"/>
                  </a:lnTo>
                  <a:lnTo>
                    <a:pt x="174" y="10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82" y="26"/>
                  </a:lnTo>
                  <a:lnTo>
                    <a:pt x="184" y="34"/>
                  </a:lnTo>
                  <a:lnTo>
                    <a:pt x="182" y="44"/>
                  </a:lnTo>
                  <a:lnTo>
                    <a:pt x="180" y="52"/>
                  </a:lnTo>
                  <a:lnTo>
                    <a:pt x="138" y="128"/>
                  </a:lnTo>
                  <a:close/>
                  <a:moveTo>
                    <a:pt x="56" y="110"/>
                  </a:moveTo>
                  <a:lnTo>
                    <a:pt x="128" y="110"/>
                  </a:lnTo>
                  <a:lnTo>
                    <a:pt x="164" y="44"/>
                  </a:lnTo>
                  <a:lnTo>
                    <a:pt x="164" y="44"/>
                  </a:lnTo>
                  <a:lnTo>
                    <a:pt x="166" y="34"/>
                  </a:lnTo>
                  <a:lnTo>
                    <a:pt x="164" y="26"/>
                  </a:lnTo>
                  <a:lnTo>
                    <a:pt x="164" y="26"/>
                  </a:lnTo>
                  <a:lnTo>
                    <a:pt x="158" y="20"/>
                  </a:lnTo>
                  <a:lnTo>
                    <a:pt x="148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26" y="20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18" y="34"/>
                  </a:lnTo>
                  <a:lnTo>
                    <a:pt x="20" y="44"/>
                  </a:lnTo>
                  <a:lnTo>
                    <a:pt x="56" y="1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Rectangle 56">
              <a:extLst>
                <a:ext uri="{FF2B5EF4-FFF2-40B4-BE49-F238E27FC236}">
                  <a16:creationId xmlns:a16="http://schemas.microsoft.com/office/drawing/2014/main" id="{9EDEBF85-4F8D-4D18-A311-04FE96E4D7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9" y="953"/>
              <a:ext cx="14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Rectangle 57">
              <a:extLst>
                <a:ext uri="{FF2B5EF4-FFF2-40B4-BE49-F238E27FC236}">
                  <a16:creationId xmlns:a16="http://schemas.microsoft.com/office/drawing/2014/main" id="{3DE6B653-DF3B-4B10-BD54-7EF573CC90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9" y="953"/>
              <a:ext cx="16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58">
              <a:extLst>
                <a:ext uri="{FF2B5EF4-FFF2-40B4-BE49-F238E27FC236}">
                  <a16:creationId xmlns:a16="http://schemas.microsoft.com/office/drawing/2014/main" id="{9EF6DEC1-AB39-4815-B954-94C81071EA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99" y="953"/>
              <a:ext cx="16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59">
              <a:extLst>
                <a:ext uri="{FF2B5EF4-FFF2-40B4-BE49-F238E27FC236}">
                  <a16:creationId xmlns:a16="http://schemas.microsoft.com/office/drawing/2014/main" id="{37031362-284A-48D7-A130-DF4BBA57B1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85" y="1095"/>
              <a:ext cx="144" cy="62"/>
            </a:xfrm>
            <a:custGeom>
              <a:avLst/>
              <a:gdLst>
                <a:gd name="T0" fmla="*/ 144 w 144"/>
                <a:gd name="T1" fmla="*/ 62 h 62"/>
                <a:gd name="T2" fmla="*/ 0 w 144"/>
                <a:gd name="T3" fmla="*/ 62 h 62"/>
                <a:gd name="T4" fmla="*/ 0 w 144"/>
                <a:gd name="T5" fmla="*/ 0 h 62"/>
                <a:gd name="T6" fmla="*/ 144 w 144"/>
                <a:gd name="T7" fmla="*/ 0 h 62"/>
                <a:gd name="T8" fmla="*/ 144 w 144"/>
                <a:gd name="T9" fmla="*/ 62 h 62"/>
                <a:gd name="T10" fmla="*/ 18 w 144"/>
                <a:gd name="T11" fmla="*/ 44 h 62"/>
                <a:gd name="T12" fmla="*/ 126 w 144"/>
                <a:gd name="T13" fmla="*/ 44 h 62"/>
                <a:gd name="T14" fmla="*/ 126 w 144"/>
                <a:gd name="T15" fmla="*/ 18 h 62"/>
                <a:gd name="T16" fmla="*/ 18 w 144"/>
                <a:gd name="T17" fmla="*/ 18 h 62"/>
                <a:gd name="T18" fmla="*/ 18 w 144"/>
                <a:gd name="T19" fmla="*/ 4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4" h="62">
                  <a:moveTo>
                    <a:pt x="144" y="62"/>
                  </a:moveTo>
                  <a:lnTo>
                    <a:pt x="0" y="62"/>
                  </a:lnTo>
                  <a:lnTo>
                    <a:pt x="0" y="0"/>
                  </a:lnTo>
                  <a:lnTo>
                    <a:pt x="144" y="0"/>
                  </a:lnTo>
                  <a:lnTo>
                    <a:pt x="144" y="62"/>
                  </a:lnTo>
                  <a:close/>
                  <a:moveTo>
                    <a:pt x="18" y="44"/>
                  </a:moveTo>
                  <a:lnTo>
                    <a:pt x="126" y="44"/>
                  </a:lnTo>
                  <a:lnTo>
                    <a:pt x="126" y="18"/>
                  </a:lnTo>
                  <a:lnTo>
                    <a:pt x="18" y="18"/>
                  </a:lnTo>
                  <a:lnTo>
                    <a:pt x="18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60">
              <a:extLst>
                <a:ext uri="{FF2B5EF4-FFF2-40B4-BE49-F238E27FC236}">
                  <a16:creationId xmlns:a16="http://schemas.microsoft.com/office/drawing/2014/main" id="{91248240-7B0A-4FC2-88DD-3652E40D4A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9" y="1307"/>
              <a:ext cx="144" cy="216"/>
            </a:xfrm>
            <a:custGeom>
              <a:avLst/>
              <a:gdLst>
                <a:gd name="T0" fmla="*/ 144 w 144"/>
                <a:gd name="T1" fmla="*/ 216 h 216"/>
                <a:gd name="T2" fmla="*/ 0 w 144"/>
                <a:gd name="T3" fmla="*/ 216 h 216"/>
                <a:gd name="T4" fmla="*/ 0 w 144"/>
                <a:gd name="T5" fmla="*/ 0 h 216"/>
                <a:gd name="T6" fmla="*/ 144 w 144"/>
                <a:gd name="T7" fmla="*/ 0 h 216"/>
                <a:gd name="T8" fmla="*/ 144 w 144"/>
                <a:gd name="T9" fmla="*/ 216 h 216"/>
                <a:gd name="T10" fmla="*/ 18 w 144"/>
                <a:gd name="T11" fmla="*/ 198 h 216"/>
                <a:gd name="T12" fmla="*/ 126 w 144"/>
                <a:gd name="T13" fmla="*/ 198 h 216"/>
                <a:gd name="T14" fmla="*/ 126 w 144"/>
                <a:gd name="T15" fmla="*/ 18 h 216"/>
                <a:gd name="T16" fmla="*/ 18 w 144"/>
                <a:gd name="T17" fmla="*/ 18 h 216"/>
                <a:gd name="T18" fmla="*/ 18 w 144"/>
                <a:gd name="T19" fmla="*/ 198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4" h="216">
                  <a:moveTo>
                    <a:pt x="144" y="216"/>
                  </a:moveTo>
                  <a:lnTo>
                    <a:pt x="0" y="216"/>
                  </a:lnTo>
                  <a:lnTo>
                    <a:pt x="0" y="0"/>
                  </a:lnTo>
                  <a:lnTo>
                    <a:pt x="144" y="0"/>
                  </a:lnTo>
                  <a:lnTo>
                    <a:pt x="144" y="216"/>
                  </a:lnTo>
                  <a:close/>
                  <a:moveTo>
                    <a:pt x="18" y="198"/>
                  </a:moveTo>
                  <a:lnTo>
                    <a:pt x="126" y="198"/>
                  </a:lnTo>
                  <a:lnTo>
                    <a:pt x="126" y="18"/>
                  </a:lnTo>
                  <a:lnTo>
                    <a:pt x="18" y="18"/>
                  </a:lnTo>
                  <a:lnTo>
                    <a:pt x="18" y="1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61">
              <a:extLst>
                <a:ext uri="{FF2B5EF4-FFF2-40B4-BE49-F238E27FC236}">
                  <a16:creationId xmlns:a16="http://schemas.microsoft.com/office/drawing/2014/main" id="{8C205D26-89C1-47BB-98D1-A6E809ECD6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9" y="1185"/>
              <a:ext cx="270" cy="338"/>
            </a:xfrm>
            <a:custGeom>
              <a:avLst/>
              <a:gdLst>
                <a:gd name="T0" fmla="*/ 270 w 270"/>
                <a:gd name="T1" fmla="*/ 338 h 338"/>
                <a:gd name="T2" fmla="*/ 126 w 270"/>
                <a:gd name="T3" fmla="*/ 338 h 338"/>
                <a:gd name="T4" fmla="*/ 126 w 270"/>
                <a:gd name="T5" fmla="*/ 300 h 338"/>
                <a:gd name="T6" fmla="*/ 0 w 270"/>
                <a:gd name="T7" fmla="*/ 300 h 338"/>
                <a:gd name="T8" fmla="*/ 0 w 270"/>
                <a:gd name="T9" fmla="*/ 242 h 338"/>
                <a:gd name="T10" fmla="*/ 126 w 270"/>
                <a:gd name="T11" fmla="*/ 242 h 338"/>
                <a:gd name="T12" fmla="*/ 126 w 270"/>
                <a:gd name="T13" fmla="*/ 220 h 338"/>
                <a:gd name="T14" fmla="*/ 0 w 270"/>
                <a:gd name="T15" fmla="*/ 220 h 338"/>
                <a:gd name="T16" fmla="*/ 0 w 270"/>
                <a:gd name="T17" fmla="*/ 162 h 338"/>
                <a:gd name="T18" fmla="*/ 126 w 270"/>
                <a:gd name="T19" fmla="*/ 162 h 338"/>
                <a:gd name="T20" fmla="*/ 126 w 270"/>
                <a:gd name="T21" fmla="*/ 0 h 338"/>
                <a:gd name="T22" fmla="*/ 270 w 270"/>
                <a:gd name="T23" fmla="*/ 0 h 338"/>
                <a:gd name="T24" fmla="*/ 270 w 270"/>
                <a:gd name="T25" fmla="*/ 110 h 338"/>
                <a:gd name="T26" fmla="*/ 252 w 270"/>
                <a:gd name="T27" fmla="*/ 98 h 338"/>
                <a:gd name="T28" fmla="*/ 144 w 270"/>
                <a:gd name="T29" fmla="*/ 98 h 338"/>
                <a:gd name="T30" fmla="*/ 144 w 270"/>
                <a:gd name="T31" fmla="*/ 122 h 338"/>
                <a:gd name="T32" fmla="*/ 268 w 270"/>
                <a:gd name="T33" fmla="*/ 122 h 338"/>
                <a:gd name="T34" fmla="*/ 268 w 270"/>
                <a:gd name="T35" fmla="*/ 180 h 338"/>
                <a:gd name="T36" fmla="*/ 144 w 270"/>
                <a:gd name="T37" fmla="*/ 180 h 338"/>
                <a:gd name="T38" fmla="*/ 144 w 270"/>
                <a:gd name="T39" fmla="*/ 202 h 338"/>
                <a:gd name="T40" fmla="*/ 268 w 270"/>
                <a:gd name="T41" fmla="*/ 202 h 338"/>
                <a:gd name="T42" fmla="*/ 270 w 270"/>
                <a:gd name="T43" fmla="*/ 260 h 338"/>
                <a:gd name="T44" fmla="*/ 144 w 270"/>
                <a:gd name="T45" fmla="*/ 260 h 338"/>
                <a:gd name="T46" fmla="*/ 144 w 270"/>
                <a:gd name="T47" fmla="*/ 282 h 338"/>
                <a:gd name="T48" fmla="*/ 270 w 270"/>
                <a:gd name="T49" fmla="*/ 282 h 338"/>
                <a:gd name="T50" fmla="*/ 270 w 270"/>
                <a:gd name="T51" fmla="*/ 338 h 338"/>
                <a:gd name="T52" fmla="*/ 144 w 270"/>
                <a:gd name="T53" fmla="*/ 320 h 338"/>
                <a:gd name="T54" fmla="*/ 252 w 270"/>
                <a:gd name="T55" fmla="*/ 320 h 338"/>
                <a:gd name="T56" fmla="*/ 252 w 270"/>
                <a:gd name="T57" fmla="*/ 300 h 338"/>
                <a:gd name="T58" fmla="*/ 144 w 270"/>
                <a:gd name="T59" fmla="*/ 300 h 338"/>
                <a:gd name="T60" fmla="*/ 144 w 270"/>
                <a:gd name="T61" fmla="*/ 320 h 338"/>
                <a:gd name="T62" fmla="*/ 18 w 270"/>
                <a:gd name="T63" fmla="*/ 282 h 338"/>
                <a:gd name="T64" fmla="*/ 126 w 270"/>
                <a:gd name="T65" fmla="*/ 282 h 338"/>
                <a:gd name="T66" fmla="*/ 126 w 270"/>
                <a:gd name="T67" fmla="*/ 260 h 338"/>
                <a:gd name="T68" fmla="*/ 18 w 270"/>
                <a:gd name="T69" fmla="*/ 260 h 338"/>
                <a:gd name="T70" fmla="*/ 18 w 270"/>
                <a:gd name="T71" fmla="*/ 282 h 338"/>
                <a:gd name="T72" fmla="*/ 144 w 270"/>
                <a:gd name="T73" fmla="*/ 242 h 338"/>
                <a:gd name="T74" fmla="*/ 252 w 270"/>
                <a:gd name="T75" fmla="*/ 242 h 338"/>
                <a:gd name="T76" fmla="*/ 250 w 270"/>
                <a:gd name="T77" fmla="*/ 220 h 338"/>
                <a:gd name="T78" fmla="*/ 144 w 270"/>
                <a:gd name="T79" fmla="*/ 220 h 338"/>
                <a:gd name="T80" fmla="*/ 144 w 270"/>
                <a:gd name="T81" fmla="*/ 242 h 338"/>
                <a:gd name="T82" fmla="*/ 18 w 270"/>
                <a:gd name="T83" fmla="*/ 202 h 338"/>
                <a:gd name="T84" fmla="*/ 126 w 270"/>
                <a:gd name="T85" fmla="*/ 202 h 338"/>
                <a:gd name="T86" fmla="*/ 126 w 270"/>
                <a:gd name="T87" fmla="*/ 180 h 338"/>
                <a:gd name="T88" fmla="*/ 18 w 270"/>
                <a:gd name="T89" fmla="*/ 180 h 338"/>
                <a:gd name="T90" fmla="*/ 18 w 270"/>
                <a:gd name="T91" fmla="*/ 202 h 338"/>
                <a:gd name="T92" fmla="*/ 144 w 270"/>
                <a:gd name="T93" fmla="*/ 162 h 338"/>
                <a:gd name="T94" fmla="*/ 250 w 270"/>
                <a:gd name="T95" fmla="*/ 162 h 338"/>
                <a:gd name="T96" fmla="*/ 250 w 270"/>
                <a:gd name="T97" fmla="*/ 140 h 338"/>
                <a:gd name="T98" fmla="*/ 144 w 270"/>
                <a:gd name="T99" fmla="*/ 140 h 338"/>
                <a:gd name="T100" fmla="*/ 144 w 270"/>
                <a:gd name="T101" fmla="*/ 162 h 338"/>
                <a:gd name="T102" fmla="*/ 144 w 270"/>
                <a:gd name="T103" fmla="*/ 80 h 338"/>
                <a:gd name="T104" fmla="*/ 252 w 270"/>
                <a:gd name="T105" fmla="*/ 80 h 338"/>
                <a:gd name="T106" fmla="*/ 252 w 270"/>
                <a:gd name="T107" fmla="*/ 58 h 338"/>
                <a:gd name="T108" fmla="*/ 144 w 270"/>
                <a:gd name="T109" fmla="*/ 58 h 338"/>
                <a:gd name="T110" fmla="*/ 144 w 270"/>
                <a:gd name="T111" fmla="*/ 80 h 338"/>
                <a:gd name="T112" fmla="*/ 144 w 270"/>
                <a:gd name="T113" fmla="*/ 40 h 338"/>
                <a:gd name="T114" fmla="*/ 252 w 270"/>
                <a:gd name="T115" fmla="*/ 40 h 338"/>
                <a:gd name="T116" fmla="*/ 252 w 270"/>
                <a:gd name="T117" fmla="*/ 18 h 338"/>
                <a:gd name="T118" fmla="*/ 144 w 270"/>
                <a:gd name="T119" fmla="*/ 18 h 338"/>
                <a:gd name="T120" fmla="*/ 144 w 270"/>
                <a:gd name="T121" fmla="*/ 40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0" h="338">
                  <a:moveTo>
                    <a:pt x="270" y="338"/>
                  </a:moveTo>
                  <a:lnTo>
                    <a:pt x="126" y="338"/>
                  </a:lnTo>
                  <a:lnTo>
                    <a:pt x="126" y="300"/>
                  </a:lnTo>
                  <a:lnTo>
                    <a:pt x="0" y="300"/>
                  </a:lnTo>
                  <a:lnTo>
                    <a:pt x="0" y="242"/>
                  </a:lnTo>
                  <a:lnTo>
                    <a:pt x="126" y="242"/>
                  </a:lnTo>
                  <a:lnTo>
                    <a:pt x="126" y="220"/>
                  </a:lnTo>
                  <a:lnTo>
                    <a:pt x="0" y="220"/>
                  </a:lnTo>
                  <a:lnTo>
                    <a:pt x="0" y="162"/>
                  </a:lnTo>
                  <a:lnTo>
                    <a:pt x="126" y="162"/>
                  </a:lnTo>
                  <a:lnTo>
                    <a:pt x="126" y="0"/>
                  </a:lnTo>
                  <a:lnTo>
                    <a:pt x="270" y="0"/>
                  </a:lnTo>
                  <a:lnTo>
                    <a:pt x="270" y="110"/>
                  </a:lnTo>
                  <a:lnTo>
                    <a:pt x="252" y="98"/>
                  </a:lnTo>
                  <a:lnTo>
                    <a:pt x="144" y="98"/>
                  </a:lnTo>
                  <a:lnTo>
                    <a:pt x="144" y="122"/>
                  </a:lnTo>
                  <a:lnTo>
                    <a:pt x="268" y="122"/>
                  </a:lnTo>
                  <a:lnTo>
                    <a:pt x="268" y="180"/>
                  </a:lnTo>
                  <a:lnTo>
                    <a:pt x="144" y="180"/>
                  </a:lnTo>
                  <a:lnTo>
                    <a:pt x="144" y="202"/>
                  </a:lnTo>
                  <a:lnTo>
                    <a:pt x="268" y="202"/>
                  </a:lnTo>
                  <a:lnTo>
                    <a:pt x="270" y="260"/>
                  </a:lnTo>
                  <a:lnTo>
                    <a:pt x="144" y="260"/>
                  </a:lnTo>
                  <a:lnTo>
                    <a:pt x="144" y="282"/>
                  </a:lnTo>
                  <a:lnTo>
                    <a:pt x="270" y="282"/>
                  </a:lnTo>
                  <a:lnTo>
                    <a:pt x="270" y="338"/>
                  </a:lnTo>
                  <a:close/>
                  <a:moveTo>
                    <a:pt x="144" y="320"/>
                  </a:moveTo>
                  <a:lnTo>
                    <a:pt x="252" y="320"/>
                  </a:lnTo>
                  <a:lnTo>
                    <a:pt x="252" y="300"/>
                  </a:lnTo>
                  <a:lnTo>
                    <a:pt x="144" y="300"/>
                  </a:lnTo>
                  <a:lnTo>
                    <a:pt x="144" y="320"/>
                  </a:lnTo>
                  <a:close/>
                  <a:moveTo>
                    <a:pt x="18" y="282"/>
                  </a:moveTo>
                  <a:lnTo>
                    <a:pt x="126" y="282"/>
                  </a:lnTo>
                  <a:lnTo>
                    <a:pt x="126" y="260"/>
                  </a:lnTo>
                  <a:lnTo>
                    <a:pt x="18" y="260"/>
                  </a:lnTo>
                  <a:lnTo>
                    <a:pt x="18" y="282"/>
                  </a:lnTo>
                  <a:close/>
                  <a:moveTo>
                    <a:pt x="144" y="242"/>
                  </a:moveTo>
                  <a:lnTo>
                    <a:pt x="252" y="242"/>
                  </a:lnTo>
                  <a:lnTo>
                    <a:pt x="250" y="220"/>
                  </a:lnTo>
                  <a:lnTo>
                    <a:pt x="144" y="220"/>
                  </a:lnTo>
                  <a:lnTo>
                    <a:pt x="144" y="242"/>
                  </a:lnTo>
                  <a:close/>
                  <a:moveTo>
                    <a:pt x="18" y="202"/>
                  </a:moveTo>
                  <a:lnTo>
                    <a:pt x="126" y="202"/>
                  </a:lnTo>
                  <a:lnTo>
                    <a:pt x="126" y="180"/>
                  </a:lnTo>
                  <a:lnTo>
                    <a:pt x="18" y="180"/>
                  </a:lnTo>
                  <a:lnTo>
                    <a:pt x="18" y="202"/>
                  </a:lnTo>
                  <a:close/>
                  <a:moveTo>
                    <a:pt x="144" y="162"/>
                  </a:moveTo>
                  <a:lnTo>
                    <a:pt x="250" y="162"/>
                  </a:lnTo>
                  <a:lnTo>
                    <a:pt x="250" y="140"/>
                  </a:lnTo>
                  <a:lnTo>
                    <a:pt x="144" y="140"/>
                  </a:lnTo>
                  <a:lnTo>
                    <a:pt x="144" y="162"/>
                  </a:lnTo>
                  <a:close/>
                  <a:moveTo>
                    <a:pt x="144" y="80"/>
                  </a:moveTo>
                  <a:lnTo>
                    <a:pt x="252" y="80"/>
                  </a:lnTo>
                  <a:lnTo>
                    <a:pt x="252" y="58"/>
                  </a:lnTo>
                  <a:lnTo>
                    <a:pt x="144" y="58"/>
                  </a:lnTo>
                  <a:lnTo>
                    <a:pt x="144" y="80"/>
                  </a:lnTo>
                  <a:close/>
                  <a:moveTo>
                    <a:pt x="144" y="40"/>
                  </a:moveTo>
                  <a:lnTo>
                    <a:pt x="252" y="40"/>
                  </a:lnTo>
                  <a:lnTo>
                    <a:pt x="252" y="18"/>
                  </a:lnTo>
                  <a:lnTo>
                    <a:pt x="144" y="18"/>
                  </a:lnTo>
                  <a:lnTo>
                    <a:pt x="144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62">
              <a:extLst>
                <a:ext uri="{FF2B5EF4-FFF2-40B4-BE49-F238E27FC236}">
                  <a16:creationId xmlns:a16="http://schemas.microsoft.com/office/drawing/2014/main" id="{957C4609-20A1-4D21-B231-975717015A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85" y="1265"/>
              <a:ext cx="144" cy="220"/>
            </a:xfrm>
            <a:custGeom>
              <a:avLst/>
              <a:gdLst>
                <a:gd name="T0" fmla="*/ 144 w 144"/>
                <a:gd name="T1" fmla="*/ 220 h 220"/>
                <a:gd name="T2" fmla="*/ 0 w 144"/>
                <a:gd name="T3" fmla="*/ 220 h 220"/>
                <a:gd name="T4" fmla="*/ 0 w 144"/>
                <a:gd name="T5" fmla="*/ 0 h 220"/>
                <a:gd name="T6" fmla="*/ 144 w 144"/>
                <a:gd name="T7" fmla="*/ 0 h 220"/>
                <a:gd name="T8" fmla="*/ 144 w 144"/>
                <a:gd name="T9" fmla="*/ 220 h 220"/>
                <a:gd name="T10" fmla="*/ 18 w 144"/>
                <a:gd name="T11" fmla="*/ 202 h 220"/>
                <a:gd name="T12" fmla="*/ 126 w 144"/>
                <a:gd name="T13" fmla="*/ 202 h 220"/>
                <a:gd name="T14" fmla="*/ 126 w 144"/>
                <a:gd name="T15" fmla="*/ 18 h 220"/>
                <a:gd name="T16" fmla="*/ 18 w 144"/>
                <a:gd name="T17" fmla="*/ 18 h 220"/>
                <a:gd name="T18" fmla="*/ 18 w 144"/>
                <a:gd name="T19" fmla="*/ 202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4" h="220">
                  <a:moveTo>
                    <a:pt x="144" y="220"/>
                  </a:moveTo>
                  <a:lnTo>
                    <a:pt x="0" y="220"/>
                  </a:lnTo>
                  <a:lnTo>
                    <a:pt x="0" y="0"/>
                  </a:lnTo>
                  <a:lnTo>
                    <a:pt x="144" y="0"/>
                  </a:lnTo>
                  <a:lnTo>
                    <a:pt x="144" y="220"/>
                  </a:lnTo>
                  <a:close/>
                  <a:moveTo>
                    <a:pt x="18" y="202"/>
                  </a:moveTo>
                  <a:lnTo>
                    <a:pt x="126" y="202"/>
                  </a:lnTo>
                  <a:lnTo>
                    <a:pt x="126" y="18"/>
                  </a:lnTo>
                  <a:lnTo>
                    <a:pt x="18" y="18"/>
                  </a:lnTo>
                  <a:lnTo>
                    <a:pt x="18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63">
              <a:extLst>
                <a:ext uri="{FF2B5EF4-FFF2-40B4-BE49-F238E27FC236}">
                  <a16:creationId xmlns:a16="http://schemas.microsoft.com/office/drawing/2014/main" id="{56C38F26-855B-4570-8489-82F508552F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5" y="1061"/>
              <a:ext cx="428" cy="480"/>
            </a:xfrm>
            <a:custGeom>
              <a:avLst/>
              <a:gdLst>
                <a:gd name="T0" fmla="*/ 232 w 428"/>
                <a:gd name="T1" fmla="*/ 480 h 480"/>
                <a:gd name="T2" fmla="*/ 156 w 428"/>
                <a:gd name="T3" fmla="*/ 472 h 480"/>
                <a:gd name="T4" fmla="*/ 94 w 428"/>
                <a:gd name="T5" fmla="*/ 452 h 480"/>
                <a:gd name="T6" fmla="*/ 46 w 428"/>
                <a:gd name="T7" fmla="*/ 420 h 480"/>
                <a:gd name="T8" fmla="*/ 26 w 428"/>
                <a:gd name="T9" fmla="*/ 400 h 480"/>
                <a:gd name="T10" fmla="*/ 12 w 428"/>
                <a:gd name="T11" fmla="*/ 376 h 480"/>
                <a:gd name="T12" fmla="*/ 4 w 428"/>
                <a:gd name="T13" fmla="*/ 354 h 480"/>
                <a:gd name="T14" fmla="*/ 0 w 428"/>
                <a:gd name="T15" fmla="*/ 310 h 480"/>
                <a:gd name="T16" fmla="*/ 8 w 428"/>
                <a:gd name="T17" fmla="*/ 264 h 480"/>
                <a:gd name="T18" fmla="*/ 32 w 428"/>
                <a:gd name="T19" fmla="*/ 216 h 480"/>
                <a:gd name="T20" fmla="*/ 48 w 428"/>
                <a:gd name="T21" fmla="*/ 194 h 480"/>
                <a:gd name="T22" fmla="*/ 108 w 428"/>
                <a:gd name="T23" fmla="*/ 114 h 480"/>
                <a:gd name="T24" fmla="*/ 144 w 428"/>
                <a:gd name="T25" fmla="*/ 56 h 480"/>
                <a:gd name="T26" fmla="*/ 168 w 428"/>
                <a:gd name="T27" fmla="*/ 8 h 480"/>
                <a:gd name="T28" fmla="*/ 292 w 428"/>
                <a:gd name="T29" fmla="*/ 0 h 480"/>
                <a:gd name="T30" fmla="*/ 294 w 428"/>
                <a:gd name="T31" fmla="*/ 8 h 480"/>
                <a:gd name="T32" fmla="*/ 318 w 428"/>
                <a:gd name="T33" fmla="*/ 56 h 480"/>
                <a:gd name="T34" fmla="*/ 356 w 428"/>
                <a:gd name="T35" fmla="*/ 114 h 480"/>
                <a:gd name="T36" fmla="*/ 416 w 428"/>
                <a:gd name="T37" fmla="*/ 194 h 480"/>
                <a:gd name="T38" fmla="*/ 428 w 428"/>
                <a:gd name="T39" fmla="*/ 212 h 480"/>
                <a:gd name="T40" fmla="*/ 414 w 428"/>
                <a:gd name="T41" fmla="*/ 222 h 480"/>
                <a:gd name="T42" fmla="*/ 402 w 428"/>
                <a:gd name="T43" fmla="*/ 206 h 480"/>
                <a:gd name="T44" fmla="*/ 348 w 428"/>
                <a:gd name="T45" fmla="*/ 136 h 480"/>
                <a:gd name="T46" fmla="*/ 312 w 428"/>
                <a:gd name="T47" fmla="*/ 80 h 480"/>
                <a:gd name="T48" fmla="*/ 280 w 428"/>
                <a:gd name="T49" fmla="*/ 18 h 480"/>
                <a:gd name="T50" fmla="*/ 184 w 428"/>
                <a:gd name="T51" fmla="*/ 18 h 480"/>
                <a:gd name="T52" fmla="*/ 152 w 428"/>
                <a:gd name="T53" fmla="*/ 80 h 480"/>
                <a:gd name="T54" fmla="*/ 116 w 428"/>
                <a:gd name="T55" fmla="*/ 136 h 480"/>
                <a:gd name="T56" fmla="*/ 62 w 428"/>
                <a:gd name="T57" fmla="*/ 206 h 480"/>
                <a:gd name="T58" fmla="*/ 46 w 428"/>
                <a:gd name="T59" fmla="*/ 226 h 480"/>
                <a:gd name="T60" fmla="*/ 26 w 428"/>
                <a:gd name="T61" fmla="*/ 268 h 480"/>
                <a:gd name="T62" fmla="*/ 18 w 428"/>
                <a:gd name="T63" fmla="*/ 310 h 480"/>
                <a:gd name="T64" fmla="*/ 22 w 428"/>
                <a:gd name="T65" fmla="*/ 350 h 480"/>
                <a:gd name="T66" fmla="*/ 30 w 428"/>
                <a:gd name="T67" fmla="*/ 368 h 480"/>
                <a:gd name="T68" fmla="*/ 42 w 428"/>
                <a:gd name="T69" fmla="*/ 390 h 480"/>
                <a:gd name="T70" fmla="*/ 80 w 428"/>
                <a:gd name="T71" fmla="*/ 424 h 480"/>
                <a:gd name="T72" fmla="*/ 130 w 428"/>
                <a:gd name="T73" fmla="*/ 448 h 480"/>
                <a:gd name="T74" fmla="*/ 196 w 428"/>
                <a:gd name="T75" fmla="*/ 460 h 480"/>
                <a:gd name="T76" fmla="*/ 232 w 428"/>
                <a:gd name="T77" fmla="*/ 462 h 480"/>
                <a:gd name="T78" fmla="*/ 290 w 428"/>
                <a:gd name="T79" fmla="*/ 458 h 480"/>
                <a:gd name="T80" fmla="*/ 340 w 428"/>
                <a:gd name="T81" fmla="*/ 444 h 480"/>
                <a:gd name="T82" fmla="*/ 346 w 428"/>
                <a:gd name="T83" fmla="*/ 462 h 480"/>
                <a:gd name="T84" fmla="*/ 292 w 428"/>
                <a:gd name="T85" fmla="*/ 476 h 480"/>
                <a:gd name="T86" fmla="*/ 232 w 428"/>
                <a:gd name="T87" fmla="*/ 48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28" h="480">
                  <a:moveTo>
                    <a:pt x="232" y="480"/>
                  </a:moveTo>
                  <a:lnTo>
                    <a:pt x="232" y="480"/>
                  </a:lnTo>
                  <a:lnTo>
                    <a:pt x="192" y="478"/>
                  </a:lnTo>
                  <a:lnTo>
                    <a:pt x="156" y="472"/>
                  </a:lnTo>
                  <a:lnTo>
                    <a:pt x="124" y="464"/>
                  </a:lnTo>
                  <a:lnTo>
                    <a:pt x="94" y="452"/>
                  </a:lnTo>
                  <a:lnTo>
                    <a:pt x="68" y="438"/>
                  </a:lnTo>
                  <a:lnTo>
                    <a:pt x="46" y="420"/>
                  </a:lnTo>
                  <a:lnTo>
                    <a:pt x="36" y="410"/>
                  </a:lnTo>
                  <a:lnTo>
                    <a:pt x="26" y="400"/>
                  </a:lnTo>
                  <a:lnTo>
                    <a:pt x="20" y="388"/>
                  </a:lnTo>
                  <a:lnTo>
                    <a:pt x="12" y="376"/>
                  </a:lnTo>
                  <a:lnTo>
                    <a:pt x="12" y="376"/>
                  </a:lnTo>
                  <a:lnTo>
                    <a:pt x="4" y="354"/>
                  </a:lnTo>
                  <a:lnTo>
                    <a:pt x="0" y="332"/>
                  </a:lnTo>
                  <a:lnTo>
                    <a:pt x="0" y="310"/>
                  </a:lnTo>
                  <a:lnTo>
                    <a:pt x="2" y="286"/>
                  </a:lnTo>
                  <a:lnTo>
                    <a:pt x="8" y="264"/>
                  </a:lnTo>
                  <a:lnTo>
                    <a:pt x="18" y="240"/>
                  </a:lnTo>
                  <a:lnTo>
                    <a:pt x="32" y="216"/>
                  </a:lnTo>
                  <a:lnTo>
                    <a:pt x="48" y="194"/>
                  </a:lnTo>
                  <a:lnTo>
                    <a:pt x="48" y="194"/>
                  </a:lnTo>
                  <a:lnTo>
                    <a:pt x="80" y="152"/>
                  </a:lnTo>
                  <a:lnTo>
                    <a:pt x="108" y="114"/>
                  </a:lnTo>
                  <a:lnTo>
                    <a:pt x="128" y="82"/>
                  </a:lnTo>
                  <a:lnTo>
                    <a:pt x="144" y="56"/>
                  </a:lnTo>
                  <a:lnTo>
                    <a:pt x="164" y="20"/>
                  </a:lnTo>
                  <a:lnTo>
                    <a:pt x="168" y="8"/>
                  </a:lnTo>
                  <a:lnTo>
                    <a:pt x="170" y="0"/>
                  </a:lnTo>
                  <a:lnTo>
                    <a:pt x="292" y="0"/>
                  </a:lnTo>
                  <a:lnTo>
                    <a:pt x="294" y="8"/>
                  </a:lnTo>
                  <a:lnTo>
                    <a:pt x="294" y="8"/>
                  </a:lnTo>
                  <a:lnTo>
                    <a:pt x="300" y="20"/>
                  </a:lnTo>
                  <a:lnTo>
                    <a:pt x="318" y="56"/>
                  </a:lnTo>
                  <a:lnTo>
                    <a:pt x="334" y="82"/>
                  </a:lnTo>
                  <a:lnTo>
                    <a:pt x="356" y="114"/>
                  </a:lnTo>
                  <a:lnTo>
                    <a:pt x="382" y="152"/>
                  </a:lnTo>
                  <a:lnTo>
                    <a:pt x="416" y="194"/>
                  </a:lnTo>
                  <a:lnTo>
                    <a:pt x="416" y="194"/>
                  </a:lnTo>
                  <a:lnTo>
                    <a:pt x="428" y="212"/>
                  </a:lnTo>
                  <a:lnTo>
                    <a:pt x="414" y="222"/>
                  </a:lnTo>
                  <a:lnTo>
                    <a:pt x="414" y="222"/>
                  </a:lnTo>
                  <a:lnTo>
                    <a:pt x="402" y="206"/>
                  </a:lnTo>
                  <a:lnTo>
                    <a:pt x="402" y="206"/>
                  </a:lnTo>
                  <a:lnTo>
                    <a:pt x="372" y="168"/>
                  </a:lnTo>
                  <a:lnTo>
                    <a:pt x="348" y="136"/>
                  </a:lnTo>
                  <a:lnTo>
                    <a:pt x="328" y="106"/>
                  </a:lnTo>
                  <a:lnTo>
                    <a:pt x="312" y="80"/>
                  </a:lnTo>
                  <a:lnTo>
                    <a:pt x="290" y="42"/>
                  </a:lnTo>
                  <a:lnTo>
                    <a:pt x="280" y="18"/>
                  </a:lnTo>
                  <a:lnTo>
                    <a:pt x="184" y="18"/>
                  </a:lnTo>
                  <a:lnTo>
                    <a:pt x="184" y="18"/>
                  </a:lnTo>
                  <a:lnTo>
                    <a:pt x="172" y="42"/>
                  </a:lnTo>
                  <a:lnTo>
                    <a:pt x="152" y="80"/>
                  </a:lnTo>
                  <a:lnTo>
                    <a:pt x="136" y="106"/>
                  </a:lnTo>
                  <a:lnTo>
                    <a:pt x="116" y="136"/>
                  </a:lnTo>
                  <a:lnTo>
                    <a:pt x="90" y="168"/>
                  </a:lnTo>
                  <a:lnTo>
                    <a:pt x="62" y="206"/>
                  </a:lnTo>
                  <a:lnTo>
                    <a:pt x="62" y="206"/>
                  </a:lnTo>
                  <a:lnTo>
                    <a:pt x="46" y="226"/>
                  </a:lnTo>
                  <a:lnTo>
                    <a:pt x="34" y="248"/>
                  </a:lnTo>
                  <a:lnTo>
                    <a:pt x="26" y="268"/>
                  </a:lnTo>
                  <a:lnTo>
                    <a:pt x="20" y="290"/>
                  </a:lnTo>
                  <a:lnTo>
                    <a:pt x="18" y="310"/>
                  </a:lnTo>
                  <a:lnTo>
                    <a:pt x="18" y="330"/>
                  </a:lnTo>
                  <a:lnTo>
                    <a:pt x="22" y="350"/>
                  </a:lnTo>
                  <a:lnTo>
                    <a:pt x="30" y="368"/>
                  </a:lnTo>
                  <a:lnTo>
                    <a:pt x="30" y="368"/>
                  </a:lnTo>
                  <a:lnTo>
                    <a:pt x="34" y="380"/>
                  </a:lnTo>
                  <a:lnTo>
                    <a:pt x="42" y="390"/>
                  </a:lnTo>
                  <a:lnTo>
                    <a:pt x="58" y="408"/>
                  </a:lnTo>
                  <a:lnTo>
                    <a:pt x="80" y="424"/>
                  </a:lnTo>
                  <a:lnTo>
                    <a:pt x="104" y="438"/>
                  </a:lnTo>
                  <a:lnTo>
                    <a:pt x="130" y="448"/>
                  </a:lnTo>
                  <a:lnTo>
                    <a:pt x="162" y="456"/>
                  </a:lnTo>
                  <a:lnTo>
                    <a:pt x="196" y="460"/>
                  </a:lnTo>
                  <a:lnTo>
                    <a:pt x="232" y="462"/>
                  </a:lnTo>
                  <a:lnTo>
                    <a:pt x="232" y="462"/>
                  </a:lnTo>
                  <a:lnTo>
                    <a:pt x="262" y="460"/>
                  </a:lnTo>
                  <a:lnTo>
                    <a:pt x="290" y="458"/>
                  </a:lnTo>
                  <a:lnTo>
                    <a:pt x="316" y="452"/>
                  </a:lnTo>
                  <a:lnTo>
                    <a:pt x="340" y="444"/>
                  </a:lnTo>
                  <a:lnTo>
                    <a:pt x="346" y="462"/>
                  </a:lnTo>
                  <a:lnTo>
                    <a:pt x="346" y="462"/>
                  </a:lnTo>
                  <a:lnTo>
                    <a:pt x="320" y="470"/>
                  </a:lnTo>
                  <a:lnTo>
                    <a:pt x="292" y="476"/>
                  </a:lnTo>
                  <a:lnTo>
                    <a:pt x="262" y="478"/>
                  </a:lnTo>
                  <a:lnTo>
                    <a:pt x="232" y="480"/>
                  </a:lnTo>
                  <a:lnTo>
                    <a:pt x="232" y="4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64">
              <a:extLst>
                <a:ext uri="{FF2B5EF4-FFF2-40B4-BE49-F238E27FC236}">
                  <a16:creationId xmlns:a16="http://schemas.microsoft.com/office/drawing/2014/main" id="{A8D5DCB2-7EC6-4308-A698-E76F21C7568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9" y="933"/>
              <a:ext cx="498" cy="608"/>
            </a:xfrm>
            <a:custGeom>
              <a:avLst/>
              <a:gdLst>
                <a:gd name="T0" fmla="*/ 304 w 498"/>
                <a:gd name="T1" fmla="*/ 608 h 608"/>
                <a:gd name="T2" fmla="*/ 242 w 498"/>
                <a:gd name="T3" fmla="*/ 602 h 608"/>
                <a:gd name="T4" fmla="*/ 186 w 498"/>
                <a:gd name="T5" fmla="*/ 584 h 608"/>
                <a:gd name="T6" fmla="*/ 134 w 498"/>
                <a:gd name="T7" fmla="*/ 556 h 608"/>
                <a:gd name="T8" fmla="*/ 88 w 498"/>
                <a:gd name="T9" fmla="*/ 518 h 608"/>
                <a:gd name="T10" fmla="*/ 52 w 498"/>
                <a:gd name="T11" fmla="*/ 474 h 608"/>
                <a:gd name="T12" fmla="*/ 24 w 498"/>
                <a:gd name="T13" fmla="*/ 422 h 608"/>
                <a:gd name="T14" fmla="*/ 6 w 498"/>
                <a:gd name="T15" fmla="*/ 366 h 608"/>
                <a:gd name="T16" fmla="*/ 0 w 498"/>
                <a:gd name="T17" fmla="*/ 304 h 608"/>
                <a:gd name="T18" fmla="*/ 2 w 498"/>
                <a:gd name="T19" fmla="*/ 272 h 608"/>
                <a:gd name="T20" fmla="*/ 14 w 498"/>
                <a:gd name="T21" fmla="*/ 214 h 608"/>
                <a:gd name="T22" fmla="*/ 36 w 498"/>
                <a:gd name="T23" fmla="*/ 160 h 608"/>
                <a:gd name="T24" fmla="*/ 70 w 498"/>
                <a:gd name="T25" fmla="*/ 110 h 608"/>
                <a:gd name="T26" fmla="*/ 110 w 498"/>
                <a:gd name="T27" fmla="*/ 70 h 608"/>
                <a:gd name="T28" fmla="*/ 158 w 498"/>
                <a:gd name="T29" fmla="*/ 36 h 608"/>
                <a:gd name="T30" fmla="*/ 214 w 498"/>
                <a:gd name="T31" fmla="*/ 14 h 608"/>
                <a:gd name="T32" fmla="*/ 272 w 498"/>
                <a:gd name="T33" fmla="*/ 2 h 608"/>
                <a:gd name="T34" fmla="*/ 304 w 498"/>
                <a:gd name="T35" fmla="*/ 0 h 608"/>
                <a:gd name="T36" fmla="*/ 354 w 498"/>
                <a:gd name="T37" fmla="*/ 4 h 608"/>
                <a:gd name="T38" fmla="*/ 402 w 498"/>
                <a:gd name="T39" fmla="*/ 16 h 608"/>
                <a:gd name="T40" fmla="*/ 448 w 498"/>
                <a:gd name="T41" fmla="*/ 36 h 608"/>
                <a:gd name="T42" fmla="*/ 490 w 498"/>
                <a:gd name="T43" fmla="*/ 64 h 608"/>
                <a:gd name="T44" fmla="*/ 486 w 498"/>
                <a:gd name="T45" fmla="*/ 84 h 608"/>
                <a:gd name="T46" fmla="*/ 480 w 498"/>
                <a:gd name="T47" fmla="*/ 78 h 608"/>
                <a:gd name="T48" fmla="*/ 440 w 498"/>
                <a:gd name="T49" fmla="*/ 52 h 608"/>
                <a:gd name="T50" fmla="*/ 396 w 498"/>
                <a:gd name="T51" fmla="*/ 34 h 608"/>
                <a:gd name="T52" fmla="*/ 352 w 498"/>
                <a:gd name="T53" fmla="*/ 22 h 608"/>
                <a:gd name="T54" fmla="*/ 304 w 498"/>
                <a:gd name="T55" fmla="*/ 18 h 608"/>
                <a:gd name="T56" fmla="*/ 274 w 498"/>
                <a:gd name="T57" fmla="*/ 20 h 608"/>
                <a:gd name="T58" fmla="*/ 218 w 498"/>
                <a:gd name="T59" fmla="*/ 30 h 608"/>
                <a:gd name="T60" fmla="*/ 168 w 498"/>
                <a:gd name="T61" fmla="*/ 52 h 608"/>
                <a:gd name="T62" fmla="*/ 122 w 498"/>
                <a:gd name="T63" fmla="*/ 84 h 608"/>
                <a:gd name="T64" fmla="*/ 84 w 498"/>
                <a:gd name="T65" fmla="*/ 122 h 608"/>
                <a:gd name="T66" fmla="*/ 52 w 498"/>
                <a:gd name="T67" fmla="*/ 168 h 608"/>
                <a:gd name="T68" fmla="*/ 30 w 498"/>
                <a:gd name="T69" fmla="*/ 218 h 608"/>
                <a:gd name="T70" fmla="*/ 20 w 498"/>
                <a:gd name="T71" fmla="*/ 274 h 608"/>
                <a:gd name="T72" fmla="*/ 18 w 498"/>
                <a:gd name="T73" fmla="*/ 304 h 608"/>
                <a:gd name="T74" fmla="*/ 24 w 498"/>
                <a:gd name="T75" fmla="*/ 362 h 608"/>
                <a:gd name="T76" fmla="*/ 40 w 498"/>
                <a:gd name="T77" fmla="*/ 416 h 608"/>
                <a:gd name="T78" fmla="*/ 66 w 498"/>
                <a:gd name="T79" fmla="*/ 464 h 608"/>
                <a:gd name="T80" fmla="*/ 102 w 498"/>
                <a:gd name="T81" fmla="*/ 506 h 608"/>
                <a:gd name="T82" fmla="*/ 144 w 498"/>
                <a:gd name="T83" fmla="*/ 540 h 608"/>
                <a:gd name="T84" fmla="*/ 192 w 498"/>
                <a:gd name="T85" fmla="*/ 568 h 608"/>
                <a:gd name="T86" fmla="*/ 246 w 498"/>
                <a:gd name="T87" fmla="*/ 584 h 608"/>
                <a:gd name="T88" fmla="*/ 304 w 498"/>
                <a:gd name="T89" fmla="*/ 590 h 608"/>
                <a:gd name="T90" fmla="*/ 326 w 498"/>
                <a:gd name="T91" fmla="*/ 588 h 608"/>
                <a:gd name="T92" fmla="*/ 370 w 498"/>
                <a:gd name="T93" fmla="*/ 582 h 608"/>
                <a:gd name="T94" fmla="*/ 400 w 498"/>
                <a:gd name="T95" fmla="*/ 574 h 608"/>
                <a:gd name="T96" fmla="*/ 398 w 498"/>
                <a:gd name="T97" fmla="*/ 592 h 608"/>
                <a:gd name="T98" fmla="*/ 374 w 498"/>
                <a:gd name="T99" fmla="*/ 600 h 608"/>
                <a:gd name="T100" fmla="*/ 328 w 498"/>
                <a:gd name="T101" fmla="*/ 606 h 608"/>
                <a:gd name="T102" fmla="*/ 304 w 498"/>
                <a:gd name="T103" fmla="*/ 608 h 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98" h="608">
                  <a:moveTo>
                    <a:pt x="304" y="608"/>
                  </a:moveTo>
                  <a:lnTo>
                    <a:pt x="304" y="608"/>
                  </a:lnTo>
                  <a:lnTo>
                    <a:pt x="272" y="606"/>
                  </a:lnTo>
                  <a:lnTo>
                    <a:pt x="242" y="602"/>
                  </a:lnTo>
                  <a:lnTo>
                    <a:pt x="214" y="594"/>
                  </a:lnTo>
                  <a:lnTo>
                    <a:pt x="186" y="584"/>
                  </a:lnTo>
                  <a:lnTo>
                    <a:pt x="158" y="572"/>
                  </a:lnTo>
                  <a:lnTo>
                    <a:pt x="134" y="556"/>
                  </a:lnTo>
                  <a:lnTo>
                    <a:pt x="110" y="538"/>
                  </a:lnTo>
                  <a:lnTo>
                    <a:pt x="88" y="518"/>
                  </a:lnTo>
                  <a:lnTo>
                    <a:pt x="70" y="498"/>
                  </a:lnTo>
                  <a:lnTo>
                    <a:pt x="52" y="474"/>
                  </a:lnTo>
                  <a:lnTo>
                    <a:pt x="36" y="448"/>
                  </a:lnTo>
                  <a:lnTo>
                    <a:pt x="24" y="422"/>
                  </a:lnTo>
                  <a:lnTo>
                    <a:pt x="14" y="394"/>
                  </a:lnTo>
                  <a:lnTo>
                    <a:pt x="6" y="366"/>
                  </a:lnTo>
                  <a:lnTo>
                    <a:pt x="2" y="334"/>
                  </a:lnTo>
                  <a:lnTo>
                    <a:pt x="0" y="304"/>
                  </a:lnTo>
                  <a:lnTo>
                    <a:pt x="0" y="304"/>
                  </a:lnTo>
                  <a:lnTo>
                    <a:pt x="2" y="272"/>
                  </a:lnTo>
                  <a:lnTo>
                    <a:pt x="6" y="242"/>
                  </a:lnTo>
                  <a:lnTo>
                    <a:pt x="14" y="214"/>
                  </a:lnTo>
                  <a:lnTo>
                    <a:pt x="24" y="186"/>
                  </a:lnTo>
                  <a:lnTo>
                    <a:pt x="36" y="160"/>
                  </a:lnTo>
                  <a:lnTo>
                    <a:pt x="52" y="134"/>
                  </a:lnTo>
                  <a:lnTo>
                    <a:pt x="70" y="110"/>
                  </a:lnTo>
                  <a:lnTo>
                    <a:pt x="88" y="90"/>
                  </a:lnTo>
                  <a:lnTo>
                    <a:pt x="110" y="70"/>
                  </a:lnTo>
                  <a:lnTo>
                    <a:pt x="134" y="52"/>
                  </a:lnTo>
                  <a:lnTo>
                    <a:pt x="158" y="36"/>
                  </a:lnTo>
                  <a:lnTo>
                    <a:pt x="186" y="24"/>
                  </a:lnTo>
                  <a:lnTo>
                    <a:pt x="214" y="14"/>
                  </a:lnTo>
                  <a:lnTo>
                    <a:pt x="242" y="6"/>
                  </a:lnTo>
                  <a:lnTo>
                    <a:pt x="272" y="2"/>
                  </a:lnTo>
                  <a:lnTo>
                    <a:pt x="304" y="0"/>
                  </a:lnTo>
                  <a:lnTo>
                    <a:pt x="304" y="0"/>
                  </a:lnTo>
                  <a:lnTo>
                    <a:pt x="330" y="2"/>
                  </a:lnTo>
                  <a:lnTo>
                    <a:pt x="354" y="4"/>
                  </a:lnTo>
                  <a:lnTo>
                    <a:pt x="378" y="10"/>
                  </a:lnTo>
                  <a:lnTo>
                    <a:pt x="402" y="16"/>
                  </a:lnTo>
                  <a:lnTo>
                    <a:pt x="426" y="26"/>
                  </a:lnTo>
                  <a:lnTo>
                    <a:pt x="448" y="36"/>
                  </a:lnTo>
                  <a:lnTo>
                    <a:pt x="470" y="50"/>
                  </a:lnTo>
                  <a:lnTo>
                    <a:pt x="490" y="64"/>
                  </a:lnTo>
                  <a:lnTo>
                    <a:pt x="498" y="70"/>
                  </a:lnTo>
                  <a:lnTo>
                    <a:pt x="486" y="84"/>
                  </a:lnTo>
                  <a:lnTo>
                    <a:pt x="480" y="78"/>
                  </a:lnTo>
                  <a:lnTo>
                    <a:pt x="480" y="78"/>
                  </a:lnTo>
                  <a:lnTo>
                    <a:pt x="460" y="64"/>
                  </a:lnTo>
                  <a:lnTo>
                    <a:pt x="440" y="52"/>
                  </a:lnTo>
                  <a:lnTo>
                    <a:pt x="418" y="42"/>
                  </a:lnTo>
                  <a:lnTo>
                    <a:pt x="396" y="34"/>
                  </a:lnTo>
                  <a:lnTo>
                    <a:pt x="374" y="26"/>
                  </a:lnTo>
                  <a:lnTo>
                    <a:pt x="352" y="22"/>
                  </a:lnTo>
                  <a:lnTo>
                    <a:pt x="328" y="18"/>
                  </a:lnTo>
                  <a:lnTo>
                    <a:pt x="304" y="18"/>
                  </a:lnTo>
                  <a:lnTo>
                    <a:pt x="304" y="18"/>
                  </a:lnTo>
                  <a:lnTo>
                    <a:pt x="274" y="20"/>
                  </a:lnTo>
                  <a:lnTo>
                    <a:pt x="246" y="24"/>
                  </a:lnTo>
                  <a:lnTo>
                    <a:pt x="218" y="30"/>
                  </a:lnTo>
                  <a:lnTo>
                    <a:pt x="192" y="40"/>
                  </a:lnTo>
                  <a:lnTo>
                    <a:pt x="168" y="52"/>
                  </a:lnTo>
                  <a:lnTo>
                    <a:pt x="144" y="66"/>
                  </a:lnTo>
                  <a:lnTo>
                    <a:pt x="122" y="84"/>
                  </a:lnTo>
                  <a:lnTo>
                    <a:pt x="102" y="102"/>
                  </a:lnTo>
                  <a:lnTo>
                    <a:pt x="84" y="122"/>
                  </a:lnTo>
                  <a:lnTo>
                    <a:pt x="66" y="144"/>
                  </a:lnTo>
                  <a:lnTo>
                    <a:pt x="52" y="168"/>
                  </a:lnTo>
                  <a:lnTo>
                    <a:pt x="40" y="192"/>
                  </a:lnTo>
                  <a:lnTo>
                    <a:pt x="30" y="218"/>
                  </a:lnTo>
                  <a:lnTo>
                    <a:pt x="24" y="246"/>
                  </a:lnTo>
                  <a:lnTo>
                    <a:pt x="20" y="274"/>
                  </a:lnTo>
                  <a:lnTo>
                    <a:pt x="18" y="304"/>
                  </a:lnTo>
                  <a:lnTo>
                    <a:pt x="18" y="304"/>
                  </a:lnTo>
                  <a:lnTo>
                    <a:pt x="20" y="334"/>
                  </a:lnTo>
                  <a:lnTo>
                    <a:pt x="24" y="362"/>
                  </a:lnTo>
                  <a:lnTo>
                    <a:pt x="30" y="388"/>
                  </a:lnTo>
                  <a:lnTo>
                    <a:pt x="40" y="416"/>
                  </a:lnTo>
                  <a:lnTo>
                    <a:pt x="52" y="440"/>
                  </a:lnTo>
                  <a:lnTo>
                    <a:pt x="66" y="464"/>
                  </a:lnTo>
                  <a:lnTo>
                    <a:pt x="84" y="486"/>
                  </a:lnTo>
                  <a:lnTo>
                    <a:pt x="102" y="506"/>
                  </a:lnTo>
                  <a:lnTo>
                    <a:pt x="122" y="524"/>
                  </a:lnTo>
                  <a:lnTo>
                    <a:pt x="144" y="540"/>
                  </a:lnTo>
                  <a:lnTo>
                    <a:pt x="168" y="556"/>
                  </a:lnTo>
                  <a:lnTo>
                    <a:pt x="192" y="568"/>
                  </a:lnTo>
                  <a:lnTo>
                    <a:pt x="218" y="576"/>
                  </a:lnTo>
                  <a:lnTo>
                    <a:pt x="246" y="584"/>
                  </a:lnTo>
                  <a:lnTo>
                    <a:pt x="274" y="588"/>
                  </a:lnTo>
                  <a:lnTo>
                    <a:pt x="304" y="590"/>
                  </a:lnTo>
                  <a:lnTo>
                    <a:pt x="304" y="590"/>
                  </a:lnTo>
                  <a:lnTo>
                    <a:pt x="326" y="588"/>
                  </a:lnTo>
                  <a:lnTo>
                    <a:pt x="348" y="586"/>
                  </a:lnTo>
                  <a:lnTo>
                    <a:pt x="370" y="582"/>
                  </a:lnTo>
                  <a:lnTo>
                    <a:pt x="392" y="576"/>
                  </a:lnTo>
                  <a:lnTo>
                    <a:pt x="400" y="574"/>
                  </a:lnTo>
                  <a:lnTo>
                    <a:pt x="406" y="590"/>
                  </a:lnTo>
                  <a:lnTo>
                    <a:pt x="398" y="592"/>
                  </a:lnTo>
                  <a:lnTo>
                    <a:pt x="398" y="592"/>
                  </a:lnTo>
                  <a:lnTo>
                    <a:pt x="374" y="600"/>
                  </a:lnTo>
                  <a:lnTo>
                    <a:pt x="352" y="604"/>
                  </a:lnTo>
                  <a:lnTo>
                    <a:pt x="328" y="606"/>
                  </a:lnTo>
                  <a:lnTo>
                    <a:pt x="304" y="608"/>
                  </a:lnTo>
                  <a:lnTo>
                    <a:pt x="304" y="6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65">
              <a:extLst>
                <a:ext uri="{FF2B5EF4-FFF2-40B4-BE49-F238E27FC236}">
                  <a16:creationId xmlns:a16="http://schemas.microsoft.com/office/drawing/2014/main" id="{106DE629-016D-47B1-BC12-FBC152962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3" y="933"/>
              <a:ext cx="334" cy="608"/>
            </a:xfrm>
            <a:custGeom>
              <a:avLst/>
              <a:gdLst>
                <a:gd name="T0" fmla="*/ 170 w 334"/>
                <a:gd name="T1" fmla="*/ 608 h 608"/>
                <a:gd name="T2" fmla="*/ 136 w 334"/>
                <a:gd name="T3" fmla="*/ 602 h 608"/>
                <a:gd name="T4" fmla="*/ 104 w 334"/>
                <a:gd name="T5" fmla="*/ 584 h 608"/>
                <a:gd name="T6" fmla="*/ 74 w 334"/>
                <a:gd name="T7" fmla="*/ 556 h 608"/>
                <a:gd name="T8" fmla="*/ 50 w 334"/>
                <a:gd name="T9" fmla="*/ 518 h 608"/>
                <a:gd name="T10" fmla="*/ 28 w 334"/>
                <a:gd name="T11" fmla="*/ 474 h 608"/>
                <a:gd name="T12" fmla="*/ 14 w 334"/>
                <a:gd name="T13" fmla="*/ 422 h 608"/>
                <a:gd name="T14" fmla="*/ 4 w 334"/>
                <a:gd name="T15" fmla="*/ 366 h 608"/>
                <a:gd name="T16" fmla="*/ 0 w 334"/>
                <a:gd name="T17" fmla="*/ 304 h 608"/>
                <a:gd name="T18" fmla="*/ 0 w 334"/>
                <a:gd name="T19" fmla="*/ 272 h 608"/>
                <a:gd name="T20" fmla="*/ 8 w 334"/>
                <a:gd name="T21" fmla="*/ 214 h 608"/>
                <a:gd name="T22" fmla="*/ 20 w 334"/>
                <a:gd name="T23" fmla="*/ 160 h 608"/>
                <a:gd name="T24" fmla="*/ 38 w 334"/>
                <a:gd name="T25" fmla="*/ 110 h 608"/>
                <a:gd name="T26" fmla="*/ 62 w 334"/>
                <a:gd name="T27" fmla="*/ 70 h 608"/>
                <a:gd name="T28" fmla="*/ 88 w 334"/>
                <a:gd name="T29" fmla="*/ 36 h 608"/>
                <a:gd name="T30" fmla="*/ 120 w 334"/>
                <a:gd name="T31" fmla="*/ 14 h 608"/>
                <a:gd name="T32" fmla="*/ 152 w 334"/>
                <a:gd name="T33" fmla="*/ 2 h 608"/>
                <a:gd name="T34" fmla="*/ 170 w 334"/>
                <a:gd name="T35" fmla="*/ 0 h 608"/>
                <a:gd name="T36" fmla="*/ 198 w 334"/>
                <a:gd name="T37" fmla="*/ 4 h 608"/>
                <a:gd name="T38" fmla="*/ 224 w 334"/>
                <a:gd name="T39" fmla="*/ 16 h 608"/>
                <a:gd name="T40" fmla="*/ 248 w 334"/>
                <a:gd name="T41" fmla="*/ 34 h 608"/>
                <a:gd name="T42" fmla="*/ 272 w 334"/>
                <a:gd name="T43" fmla="*/ 60 h 608"/>
                <a:gd name="T44" fmla="*/ 292 w 334"/>
                <a:gd name="T45" fmla="*/ 90 h 608"/>
                <a:gd name="T46" fmla="*/ 308 w 334"/>
                <a:gd name="T47" fmla="*/ 126 h 608"/>
                <a:gd name="T48" fmla="*/ 322 w 334"/>
                <a:gd name="T49" fmla="*/ 168 h 608"/>
                <a:gd name="T50" fmla="*/ 334 w 334"/>
                <a:gd name="T51" fmla="*/ 224 h 608"/>
                <a:gd name="T52" fmla="*/ 314 w 334"/>
                <a:gd name="T53" fmla="*/ 218 h 608"/>
                <a:gd name="T54" fmla="*/ 306 w 334"/>
                <a:gd name="T55" fmla="*/ 176 h 608"/>
                <a:gd name="T56" fmla="*/ 278 w 334"/>
                <a:gd name="T57" fmla="*/ 102 h 608"/>
                <a:gd name="T58" fmla="*/ 250 w 334"/>
                <a:gd name="T59" fmla="*/ 62 h 608"/>
                <a:gd name="T60" fmla="*/ 228 w 334"/>
                <a:gd name="T61" fmla="*/ 40 h 608"/>
                <a:gd name="T62" fmla="*/ 206 w 334"/>
                <a:gd name="T63" fmla="*/ 26 h 608"/>
                <a:gd name="T64" fmla="*/ 182 w 334"/>
                <a:gd name="T65" fmla="*/ 18 h 608"/>
                <a:gd name="T66" fmla="*/ 170 w 334"/>
                <a:gd name="T67" fmla="*/ 18 h 608"/>
                <a:gd name="T68" fmla="*/ 140 w 334"/>
                <a:gd name="T69" fmla="*/ 24 h 608"/>
                <a:gd name="T70" fmla="*/ 110 w 334"/>
                <a:gd name="T71" fmla="*/ 40 h 608"/>
                <a:gd name="T72" fmla="*/ 84 w 334"/>
                <a:gd name="T73" fmla="*/ 66 h 608"/>
                <a:gd name="T74" fmla="*/ 62 w 334"/>
                <a:gd name="T75" fmla="*/ 102 h 608"/>
                <a:gd name="T76" fmla="*/ 44 w 334"/>
                <a:gd name="T77" fmla="*/ 144 h 608"/>
                <a:gd name="T78" fmla="*/ 30 w 334"/>
                <a:gd name="T79" fmla="*/ 192 h 608"/>
                <a:gd name="T80" fmla="*/ 20 w 334"/>
                <a:gd name="T81" fmla="*/ 246 h 608"/>
                <a:gd name="T82" fmla="*/ 18 w 334"/>
                <a:gd name="T83" fmla="*/ 304 h 608"/>
                <a:gd name="T84" fmla="*/ 18 w 334"/>
                <a:gd name="T85" fmla="*/ 334 h 608"/>
                <a:gd name="T86" fmla="*/ 24 w 334"/>
                <a:gd name="T87" fmla="*/ 388 h 608"/>
                <a:gd name="T88" fmla="*/ 36 w 334"/>
                <a:gd name="T89" fmla="*/ 440 h 608"/>
                <a:gd name="T90" fmla="*/ 52 w 334"/>
                <a:gd name="T91" fmla="*/ 486 h 608"/>
                <a:gd name="T92" fmla="*/ 74 w 334"/>
                <a:gd name="T93" fmla="*/ 524 h 608"/>
                <a:gd name="T94" fmla="*/ 98 w 334"/>
                <a:gd name="T95" fmla="*/ 556 h 608"/>
                <a:gd name="T96" fmla="*/ 124 w 334"/>
                <a:gd name="T97" fmla="*/ 576 h 608"/>
                <a:gd name="T98" fmla="*/ 154 w 334"/>
                <a:gd name="T99" fmla="*/ 588 h 608"/>
                <a:gd name="T100" fmla="*/ 170 w 334"/>
                <a:gd name="T101" fmla="*/ 590 h 608"/>
                <a:gd name="T102" fmla="*/ 206 w 334"/>
                <a:gd name="T103" fmla="*/ 582 h 608"/>
                <a:gd name="T104" fmla="*/ 242 w 334"/>
                <a:gd name="T105" fmla="*/ 556 h 608"/>
                <a:gd name="T106" fmla="*/ 260 w 334"/>
                <a:gd name="T107" fmla="*/ 562 h 608"/>
                <a:gd name="T108" fmla="*/ 254 w 334"/>
                <a:gd name="T109" fmla="*/ 568 h 608"/>
                <a:gd name="T110" fmla="*/ 214 w 334"/>
                <a:gd name="T111" fmla="*/ 598 h 608"/>
                <a:gd name="T112" fmla="*/ 192 w 334"/>
                <a:gd name="T113" fmla="*/ 606 h 608"/>
                <a:gd name="T114" fmla="*/ 170 w 334"/>
                <a:gd name="T115" fmla="*/ 608 h 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34" h="608">
                  <a:moveTo>
                    <a:pt x="170" y="608"/>
                  </a:moveTo>
                  <a:lnTo>
                    <a:pt x="170" y="608"/>
                  </a:lnTo>
                  <a:lnTo>
                    <a:pt x="152" y="606"/>
                  </a:lnTo>
                  <a:lnTo>
                    <a:pt x="136" y="602"/>
                  </a:lnTo>
                  <a:lnTo>
                    <a:pt x="120" y="594"/>
                  </a:lnTo>
                  <a:lnTo>
                    <a:pt x="104" y="584"/>
                  </a:lnTo>
                  <a:lnTo>
                    <a:pt x="88" y="572"/>
                  </a:lnTo>
                  <a:lnTo>
                    <a:pt x="74" y="556"/>
                  </a:lnTo>
                  <a:lnTo>
                    <a:pt x="62" y="538"/>
                  </a:lnTo>
                  <a:lnTo>
                    <a:pt x="50" y="518"/>
                  </a:lnTo>
                  <a:lnTo>
                    <a:pt x="38" y="498"/>
                  </a:lnTo>
                  <a:lnTo>
                    <a:pt x="28" y="474"/>
                  </a:lnTo>
                  <a:lnTo>
                    <a:pt x="20" y="448"/>
                  </a:lnTo>
                  <a:lnTo>
                    <a:pt x="14" y="422"/>
                  </a:lnTo>
                  <a:lnTo>
                    <a:pt x="8" y="394"/>
                  </a:lnTo>
                  <a:lnTo>
                    <a:pt x="4" y="366"/>
                  </a:lnTo>
                  <a:lnTo>
                    <a:pt x="0" y="334"/>
                  </a:lnTo>
                  <a:lnTo>
                    <a:pt x="0" y="304"/>
                  </a:lnTo>
                  <a:lnTo>
                    <a:pt x="0" y="304"/>
                  </a:lnTo>
                  <a:lnTo>
                    <a:pt x="0" y="272"/>
                  </a:lnTo>
                  <a:lnTo>
                    <a:pt x="4" y="242"/>
                  </a:lnTo>
                  <a:lnTo>
                    <a:pt x="8" y="214"/>
                  </a:lnTo>
                  <a:lnTo>
                    <a:pt x="14" y="186"/>
                  </a:lnTo>
                  <a:lnTo>
                    <a:pt x="20" y="160"/>
                  </a:lnTo>
                  <a:lnTo>
                    <a:pt x="28" y="134"/>
                  </a:lnTo>
                  <a:lnTo>
                    <a:pt x="38" y="110"/>
                  </a:lnTo>
                  <a:lnTo>
                    <a:pt x="50" y="90"/>
                  </a:lnTo>
                  <a:lnTo>
                    <a:pt x="62" y="70"/>
                  </a:lnTo>
                  <a:lnTo>
                    <a:pt x="74" y="52"/>
                  </a:lnTo>
                  <a:lnTo>
                    <a:pt x="88" y="36"/>
                  </a:lnTo>
                  <a:lnTo>
                    <a:pt x="104" y="24"/>
                  </a:lnTo>
                  <a:lnTo>
                    <a:pt x="120" y="14"/>
                  </a:lnTo>
                  <a:lnTo>
                    <a:pt x="136" y="6"/>
                  </a:lnTo>
                  <a:lnTo>
                    <a:pt x="152" y="2"/>
                  </a:lnTo>
                  <a:lnTo>
                    <a:pt x="170" y="0"/>
                  </a:lnTo>
                  <a:lnTo>
                    <a:pt x="170" y="0"/>
                  </a:lnTo>
                  <a:lnTo>
                    <a:pt x="184" y="2"/>
                  </a:lnTo>
                  <a:lnTo>
                    <a:pt x="198" y="4"/>
                  </a:lnTo>
                  <a:lnTo>
                    <a:pt x="210" y="8"/>
                  </a:lnTo>
                  <a:lnTo>
                    <a:pt x="224" y="16"/>
                  </a:lnTo>
                  <a:lnTo>
                    <a:pt x="236" y="24"/>
                  </a:lnTo>
                  <a:lnTo>
                    <a:pt x="248" y="34"/>
                  </a:lnTo>
                  <a:lnTo>
                    <a:pt x="260" y="46"/>
                  </a:lnTo>
                  <a:lnTo>
                    <a:pt x="272" y="60"/>
                  </a:lnTo>
                  <a:lnTo>
                    <a:pt x="282" y="74"/>
                  </a:lnTo>
                  <a:lnTo>
                    <a:pt x="292" y="90"/>
                  </a:lnTo>
                  <a:lnTo>
                    <a:pt x="300" y="108"/>
                  </a:lnTo>
                  <a:lnTo>
                    <a:pt x="308" y="126"/>
                  </a:lnTo>
                  <a:lnTo>
                    <a:pt x="316" y="148"/>
                  </a:lnTo>
                  <a:lnTo>
                    <a:pt x="322" y="168"/>
                  </a:lnTo>
                  <a:lnTo>
                    <a:pt x="332" y="214"/>
                  </a:lnTo>
                  <a:lnTo>
                    <a:pt x="334" y="224"/>
                  </a:lnTo>
                  <a:lnTo>
                    <a:pt x="316" y="226"/>
                  </a:lnTo>
                  <a:lnTo>
                    <a:pt x="314" y="218"/>
                  </a:lnTo>
                  <a:lnTo>
                    <a:pt x="314" y="218"/>
                  </a:lnTo>
                  <a:lnTo>
                    <a:pt x="306" y="176"/>
                  </a:lnTo>
                  <a:lnTo>
                    <a:pt x="292" y="136"/>
                  </a:lnTo>
                  <a:lnTo>
                    <a:pt x="278" y="102"/>
                  </a:lnTo>
                  <a:lnTo>
                    <a:pt x="260" y="74"/>
                  </a:lnTo>
                  <a:lnTo>
                    <a:pt x="250" y="62"/>
                  </a:lnTo>
                  <a:lnTo>
                    <a:pt x="238" y="50"/>
                  </a:lnTo>
                  <a:lnTo>
                    <a:pt x="228" y="40"/>
                  </a:lnTo>
                  <a:lnTo>
                    <a:pt x="218" y="32"/>
                  </a:lnTo>
                  <a:lnTo>
                    <a:pt x="206" y="26"/>
                  </a:lnTo>
                  <a:lnTo>
                    <a:pt x="194" y="22"/>
                  </a:lnTo>
                  <a:lnTo>
                    <a:pt x="182" y="18"/>
                  </a:lnTo>
                  <a:lnTo>
                    <a:pt x="170" y="18"/>
                  </a:lnTo>
                  <a:lnTo>
                    <a:pt x="170" y="18"/>
                  </a:lnTo>
                  <a:lnTo>
                    <a:pt x="154" y="20"/>
                  </a:lnTo>
                  <a:lnTo>
                    <a:pt x="140" y="24"/>
                  </a:lnTo>
                  <a:lnTo>
                    <a:pt x="124" y="30"/>
                  </a:lnTo>
                  <a:lnTo>
                    <a:pt x="110" y="40"/>
                  </a:lnTo>
                  <a:lnTo>
                    <a:pt x="98" y="52"/>
                  </a:lnTo>
                  <a:lnTo>
                    <a:pt x="84" y="66"/>
                  </a:lnTo>
                  <a:lnTo>
                    <a:pt x="74" y="84"/>
                  </a:lnTo>
                  <a:lnTo>
                    <a:pt x="62" y="102"/>
                  </a:lnTo>
                  <a:lnTo>
                    <a:pt x="52" y="122"/>
                  </a:lnTo>
                  <a:lnTo>
                    <a:pt x="44" y="144"/>
                  </a:lnTo>
                  <a:lnTo>
                    <a:pt x="36" y="168"/>
                  </a:lnTo>
                  <a:lnTo>
                    <a:pt x="30" y="192"/>
                  </a:lnTo>
                  <a:lnTo>
                    <a:pt x="24" y="218"/>
                  </a:lnTo>
                  <a:lnTo>
                    <a:pt x="20" y="246"/>
                  </a:lnTo>
                  <a:lnTo>
                    <a:pt x="18" y="274"/>
                  </a:lnTo>
                  <a:lnTo>
                    <a:pt x="18" y="304"/>
                  </a:lnTo>
                  <a:lnTo>
                    <a:pt x="18" y="304"/>
                  </a:lnTo>
                  <a:lnTo>
                    <a:pt x="18" y="334"/>
                  </a:lnTo>
                  <a:lnTo>
                    <a:pt x="20" y="362"/>
                  </a:lnTo>
                  <a:lnTo>
                    <a:pt x="24" y="388"/>
                  </a:lnTo>
                  <a:lnTo>
                    <a:pt x="30" y="416"/>
                  </a:lnTo>
                  <a:lnTo>
                    <a:pt x="36" y="440"/>
                  </a:lnTo>
                  <a:lnTo>
                    <a:pt x="44" y="464"/>
                  </a:lnTo>
                  <a:lnTo>
                    <a:pt x="52" y="486"/>
                  </a:lnTo>
                  <a:lnTo>
                    <a:pt x="62" y="506"/>
                  </a:lnTo>
                  <a:lnTo>
                    <a:pt x="74" y="524"/>
                  </a:lnTo>
                  <a:lnTo>
                    <a:pt x="84" y="540"/>
                  </a:lnTo>
                  <a:lnTo>
                    <a:pt x="98" y="556"/>
                  </a:lnTo>
                  <a:lnTo>
                    <a:pt x="110" y="568"/>
                  </a:lnTo>
                  <a:lnTo>
                    <a:pt x="124" y="576"/>
                  </a:lnTo>
                  <a:lnTo>
                    <a:pt x="140" y="584"/>
                  </a:lnTo>
                  <a:lnTo>
                    <a:pt x="154" y="588"/>
                  </a:lnTo>
                  <a:lnTo>
                    <a:pt x="170" y="590"/>
                  </a:lnTo>
                  <a:lnTo>
                    <a:pt x="170" y="590"/>
                  </a:lnTo>
                  <a:lnTo>
                    <a:pt x="188" y="588"/>
                  </a:lnTo>
                  <a:lnTo>
                    <a:pt x="206" y="582"/>
                  </a:lnTo>
                  <a:lnTo>
                    <a:pt x="224" y="570"/>
                  </a:lnTo>
                  <a:lnTo>
                    <a:pt x="242" y="556"/>
                  </a:lnTo>
                  <a:lnTo>
                    <a:pt x="248" y="550"/>
                  </a:lnTo>
                  <a:lnTo>
                    <a:pt x="260" y="562"/>
                  </a:lnTo>
                  <a:lnTo>
                    <a:pt x="254" y="568"/>
                  </a:lnTo>
                  <a:lnTo>
                    <a:pt x="254" y="568"/>
                  </a:lnTo>
                  <a:lnTo>
                    <a:pt x="234" y="586"/>
                  </a:lnTo>
                  <a:lnTo>
                    <a:pt x="214" y="598"/>
                  </a:lnTo>
                  <a:lnTo>
                    <a:pt x="202" y="602"/>
                  </a:lnTo>
                  <a:lnTo>
                    <a:pt x="192" y="606"/>
                  </a:lnTo>
                  <a:lnTo>
                    <a:pt x="180" y="608"/>
                  </a:lnTo>
                  <a:lnTo>
                    <a:pt x="170" y="608"/>
                  </a:lnTo>
                  <a:lnTo>
                    <a:pt x="170" y="6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Rectangle 66">
              <a:extLst>
                <a:ext uri="{FF2B5EF4-FFF2-40B4-BE49-F238E27FC236}">
                  <a16:creationId xmlns:a16="http://schemas.microsoft.com/office/drawing/2014/main" id="{01372D00-5637-40DD-A1B3-76A93FE749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43" y="933"/>
              <a:ext cx="18" cy="60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Rectangle 67">
              <a:extLst>
                <a:ext uri="{FF2B5EF4-FFF2-40B4-BE49-F238E27FC236}">
                  <a16:creationId xmlns:a16="http://schemas.microsoft.com/office/drawing/2014/main" id="{8215BE15-0A27-4D45-869A-A468CEE3EC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95" y="1085"/>
              <a:ext cx="440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Rectangle 68">
              <a:extLst>
                <a:ext uri="{FF2B5EF4-FFF2-40B4-BE49-F238E27FC236}">
                  <a16:creationId xmlns:a16="http://schemas.microsoft.com/office/drawing/2014/main" id="{1BA36860-5374-42EE-B7C6-AA35DCB985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93" y="1371"/>
              <a:ext cx="296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Rectangle 69">
              <a:extLst>
                <a:ext uri="{FF2B5EF4-FFF2-40B4-BE49-F238E27FC236}">
                  <a16:creationId xmlns:a16="http://schemas.microsoft.com/office/drawing/2014/main" id="{652AAFE6-2560-44E6-B36F-66A0BFCEE9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9" y="1227"/>
              <a:ext cx="386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72" name="AutoShape 41">
            <a:extLst>
              <a:ext uri="{FF2B5EF4-FFF2-40B4-BE49-F238E27FC236}">
                <a16:creationId xmlns:a16="http://schemas.microsoft.com/office/drawing/2014/main" id="{5B6CEB64-E88A-4108-A614-0FD8A0D4D9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8187" y="5044392"/>
            <a:ext cx="8146522" cy="679402"/>
          </a:xfrm>
          <a:prstGeom prst="roundRect">
            <a:avLst/>
          </a:prstGeom>
          <a:solidFill>
            <a:srgbClr val="FFE800"/>
          </a:solidFill>
          <a:ln w="12700">
            <a:solidFill>
              <a:schemeClr val="bg2">
                <a:lumMod val="50000"/>
                <a:lumOff val="5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vert="horz" wrap="square" lIns="144000" tIns="45720" rIns="91440" bIns="45720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defRPr/>
            </a:pPr>
            <a:r>
              <a:rPr lang="ru-RU" sz="1400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стимулирования инвестирования в экономику, Казахстану необходимо отказаться от системы агрессивного налогообложения сырьевого сектора. </a:t>
            </a:r>
            <a:endParaRPr lang="ru" sz="1400" dirty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14450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B88655D2-0FCA-4243-9EDC-5F57622C72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7282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1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B88655D2-0FCA-4243-9EDC-5F57622C721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C93CA641-93BA-4A85-97DB-577A714853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/>
            <a:endParaRPr lang="ru-RU" sz="2200" b="1" dirty="0">
              <a:solidFill>
                <a:schemeClr val="tx1"/>
              </a:solidFill>
              <a:latin typeface="EYInterstate" panose="02000503020000020004" pitchFamily="2" charset="0"/>
              <a:ea typeface="+mj-ea"/>
              <a:cs typeface="Arial" panose="020B0604020202020204" pitchFamily="34" charset="0"/>
              <a:sym typeface="EYInterstate" panose="02000503020000020004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DA2FBA9-88CD-4E66-89F3-DD9D92945E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888" y="322188"/>
            <a:ext cx="8229600" cy="590400"/>
          </a:xfrm>
        </p:spPr>
        <p:txBody>
          <a:bodyPr vert="horz"/>
          <a:lstStyle/>
          <a:p>
            <a:r>
              <a:rPr lang="ru-RU" sz="2000" dirty="0">
                <a:latin typeface="Arial" panose="020B0604020202020204" pitchFamily="34" charset="0"/>
              </a:rPr>
              <a:t>Текущая ситуация (продолжение</a:t>
            </a:r>
            <a:r>
              <a:rPr lang="en-US" sz="2000" dirty="0">
                <a:latin typeface="Arial" panose="020B0604020202020204" pitchFamily="34" charset="0"/>
              </a:rPr>
              <a:t>)</a:t>
            </a:r>
            <a:endParaRPr lang="en-US" sz="200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DE44F6-0562-4EF9-AD5A-5F2645B66B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3093" y="6516456"/>
            <a:ext cx="903732" cy="180000"/>
          </a:xfrm>
        </p:spPr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4</a:t>
            </a:fld>
            <a:endParaRPr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29F5E7-4114-4A63-8DFF-0434581C1883}"/>
              </a:ext>
            </a:extLst>
          </p:cNvPr>
          <p:cNvSpPr txBox="1"/>
          <p:nvPr/>
        </p:nvSpPr>
        <p:spPr>
          <a:xfrm>
            <a:off x="4184376" y="1504810"/>
            <a:ext cx="126638" cy="246221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600" b="1" dirty="0"/>
              <a:t>1</a:t>
            </a:r>
            <a:endParaRPr lang="en-US" sz="1400" b="1" dirty="0" err="1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0879FCA-1170-4FBA-A946-98160187419E}"/>
              </a:ext>
            </a:extLst>
          </p:cNvPr>
          <p:cNvSpPr/>
          <p:nvPr/>
        </p:nvSpPr>
        <p:spPr>
          <a:xfrm>
            <a:off x="4347764" y="2046674"/>
            <a:ext cx="311304" cy="3016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600" b="1" dirty="0"/>
              <a:t>2</a:t>
            </a:r>
            <a:endParaRPr lang="en-US" sz="1600" b="1" dirty="0" err="1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63DDB4A-9BFA-4131-980B-73CB53FFE25A}"/>
              </a:ext>
            </a:extLst>
          </p:cNvPr>
          <p:cNvSpPr/>
          <p:nvPr/>
        </p:nvSpPr>
        <p:spPr>
          <a:xfrm>
            <a:off x="4419021" y="2303133"/>
            <a:ext cx="327334" cy="3277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b="1" dirty="0"/>
              <a:t>3</a:t>
            </a:r>
            <a:endParaRPr lang="en-US" sz="1600" b="1" dirty="0" err="1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25EFA0C-CCBC-4AC3-A737-F7EF880962F4}"/>
              </a:ext>
            </a:extLst>
          </p:cNvPr>
          <p:cNvSpPr/>
          <p:nvPr/>
        </p:nvSpPr>
        <p:spPr>
          <a:xfrm>
            <a:off x="4326941" y="2828083"/>
            <a:ext cx="327334" cy="3277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b="1" dirty="0"/>
              <a:t>4</a:t>
            </a:r>
            <a:endParaRPr lang="en-US" sz="1600" b="1" dirty="0" err="1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33F4380-2486-4ABD-AB1D-9B8D3F65B91F}"/>
              </a:ext>
            </a:extLst>
          </p:cNvPr>
          <p:cNvSpPr/>
          <p:nvPr/>
        </p:nvSpPr>
        <p:spPr>
          <a:xfrm>
            <a:off x="4081177" y="3381638"/>
            <a:ext cx="327334" cy="3277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b="1" dirty="0"/>
              <a:t>5</a:t>
            </a:r>
            <a:endParaRPr lang="en-US" sz="1600" b="1" dirty="0" err="1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AE74D3B-D60B-45BD-9AFD-8E4554E50099}"/>
              </a:ext>
            </a:extLst>
          </p:cNvPr>
          <p:cNvSpPr/>
          <p:nvPr/>
        </p:nvSpPr>
        <p:spPr>
          <a:xfrm>
            <a:off x="1841257" y="1167251"/>
            <a:ext cx="6794500" cy="1123384"/>
          </a:xfrm>
          <a:prstGeom prst="rect">
            <a:avLst/>
          </a:prstGeom>
          <a:solidFill>
            <a:srgbClr val="FFE600"/>
          </a:solidFill>
          <a:ln w="12700">
            <a:solidFill>
              <a:schemeClr val="bg1"/>
            </a:solidFill>
            <a:prstDash val="dash"/>
          </a:ln>
        </p:spPr>
        <p:txBody>
          <a:bodyPr wrap="square">
            <a:spAutoFit/>
          </a:bodyPr>
          <a:lstStyle/>
          <a:p>
            <a:pPr algn="just">
              <a:buClr>
                <a:schemeClr val="tx2"/>
              </a:buClr>
            </a:pPr>
            <a:r>
              <a:rPr lang="ru-RU" sz="1400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вительством РК предпринимаются значительные усилия по созданию наиболее благоприятных условий для функционирования существующего бизнеса и привлечения новых инвестиции, особенно в реальный сектор экономики РК. </a:t>
            </a:r>
          </a:p>
          <a:p>
            <a:pPr>
              <a:buClr>
                <a:srgbClr val="FFE600"/>
              </a:buClr>
              <a:buSzPct val="70000"/>
            </a:pPr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725D263-BCE7-49B6-BB66-B987390EEFC8}"/>
              </a:ext>
            </a:extLst>
          </p:cNvPr>
          <p:cNvSpPr/>
          <p:nvPr/>
        </p:nvSpPr>
        <p:spPr>
          <a:xfrm>
            <a:off x="1841257" y="2467480"/>
            <a:ext cx="6794500" cy="1050517"/>
          </a:xfrm>
          <a:prstGeom prst="rect">
            <a:avLst/>
          </a:prstGeom>
          <a:solidFill>
            <a:srgbClr val="FFE600"/>
          </a:solidFill>
          <a:ln w="12700">
            <a:solidFill>
              <a:schemeClr val="bg1"/>
            </a:solidFill>
            <a:prstDash val="dash"/>
          </a:ln>
        </p:spPr>
        <p:txBody>
          <a:bodyPr wrap="square" anchor="t" anchorCtr="0">
            <a:noAutofit/>
          </a:bodyPr>
          <a:lstStyle/>
          <a:p>
            <a:pPr algn="just" defTabSz="685434">
              <a:buClr>
                <a:schemeClr val="tx2"/>
              </a:buClr>
            </a:pPr>
            <a:r>
              <a:rPr lang="ru-RU" sz="1400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тоже время, органы государственных доходов указывают на необходимость увеличить налоговую нагрузку на горнорудный сектор со ссылкой на низкий коэффициент налоговой нагрузки («</a:t>
            </a:r>
            <a:r>
              <a:rPr lang="ru-RU" sz="1400" b="1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НН</a:t>
            </a:r>
            <a:r>
              <a:rPr lang="ru-RU" sz="1400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) в отрасли. </a:t>
            </a:r>
            <a:endParaRPr lang="en-US" sz="1400" dirty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ctangle 19">
            <a:extLst>
              <a:ext uri="{FF2B5EF4-FFF2-40B4-BE49-F238E27FC236}">
                <a16:creationId xmlns:a16="http://schemas.microsoft.com/office/drawing/2014/main" id="{878D9D27-1868-492F-AE4E-731EE3D3434D}"/>
              </a:ext>
            </a:extLst>
          </p:cNvPr>
          <p:cNvSpPr>
            <a:spLocks noChangeArrowheads="1"/>
          </p:cNvSpPr>
          <p:nvPr/>
        </p:nvSpPr>
        <p:spPr bwMode="gray">
          <a:xfrm>
            <a:off x="457200" y="1162197"/>
            <a:ext cx="1296770" cy="1123383"/>
          </a:xfrm>
          <a:prstGeom prst="rect">
            <a:avLst/>
          </a:prstGeom>
          <a:solidFill>
            <a:schemeClr val="bg1">
              <a:lumMod val="60000"/>
              <a:lumOff val="40000"/>
            </a:schemeClr>
          </a:solidFill>
          <a:ln w="12700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anchor="ctr"/>
          <a:lstStyle/>
          <a:p>
            <a:pPr algn="ctr" defTabSz="80168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3600" b="1" dirty="0">
                <a:solidFill>
                  <a:srgbClr val="FFE600"/>
                </a:solidFill>
              </a:rPr>
              <a:t>1</a:t>
            </a:r>
          </a:p>
        </p:txBody>
      </p:sp>
      <p:sp>
        <p:nvSpPr>
          <p:cNvPr id="27" name="Rectangle 19">
            <a:extLst>
              <a:ext uri="{FF2B5EF4-FFF2-40B4-BE49-F238E27FC236}">
                <a16:creationId xmlns:a16="http://schemas.microsoft.com/office/drawing/2014/main" id="{B83A1985-53AF-463E-A3D8-E6874969BECE}"/>
              </a:ext>
            </a:extLst>
          </p:cNvPr>
          <p:cNvSpPr>
            <a:spLocks noChangeArrowheads="1"/>
          </p:cNvSpPr>
          <p:nvPr/>
        </p:nvSpPr>
        <p:spPr bwMode="gray">
          <a:xfrm>
            <a:off x="457200" y="2467480"/>
            <a:ext cx="1296770" cy="1050517"/>
          </a:xfrm>
          <a:prstGeom prst="rect">
            <a:avLst/>
          </a:prstGeom>
          <a:solidFill>
            <a:schemeClr val="bg1">
              <a:lumMod val="60000"/>
              <a:lumOff val="40000"/>
            </a:schemeClr>
          </a:solidFill>
          <a:ln w="12700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anchor="ctr"/>
          <a:lstStyle/>
          <a:p>
            <a:pPr algn="ctr" defTabSz="80168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3600" b="1" dirty="0">
                <a:solidFill>
                  <a:srgbClr val="FFE600"/>
                </a:solidFill>
              </a:rPr>
              <a:t>2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368C9A7-228A-45C3-9815-8651135BB23E}"/>
              </a:ext>
            </a:extLst>
          </p:cNvPr>
          <p:cNvSpPr/>
          <p:nvPr/>
        </p:nvSpPr>
        <p:spPr>
          <a:xfrm>
            <a:off x="1841257" y="3722545"/>
            <a:ext cx="6794500" cy="1050517"/>
          </a:xfrm>
          <a:prstGeom prst="rect">
            <a:avLst/>
          </a:prstGeom>
          <a:solidFill>
            <a:srgbClr val="FFE600"/>
          </a:solidFill>
          <a:ln w="12700">
            <a:solidFill>
              <a:schemeClr val="bg1"/>
            </a:solidFill>
            <a:prstDash val="dash"/>
          </a:ln>
        </p:spPr>
        <p:txBody>
          <a:bodyPr wrap="square" anchor="t" anchorCtr="0">
            <a:noAutofit/>
          </a:bodyPr>
          <a:lstStyle/>
          <a:p>
            <a:pPr lvl="0" algn="just" defTabSz="685434">
              <a:lnSpc>
                <a:spcPct val="85000"/>
              </a:lnSpc>
              <a:spcAft>
                <a:spcPts val="600"/>
              </a:spcAft>
              <a:buClr>
                <a:schemeClr val="tx2"/>
              </a:buClr>
              <a:defRPr/>
            </a:pPr>
            <a:r>
              <a:rPr lang="ru-RU" sz="1400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величение налоговой нагрузки горнорудного сектора приведет к обратному эффекту и снизит и без того низкую инвестиционную привлекательность данного сектора индустрии РК. Результатом этого может стать сокращение налоговых поступлений от данного сектора в бюджет страны.</a:t>
            </a:r>
            <a:endParaRPr lang="ru" sz="1400" dirty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19">
            <a:extLst>
              <a:ext uri="{FF2B5EF4-FFF2-40B4-BE49-F238E27FC236}">
                <a16:creationId xmlns:a16="http://schemas.microsoft.com/office/drawing/2014/main" id="{D7E71EBB-9370-4B82-84BA-8FA56AE4F754}"/>
              </a:ext>
            </a:extLst>
          </p:cNvPr>
          <p:cNvSpPr>
            <a:spLocks noChangeArrowheads="1"/>
          </p:cNvSpPr>
          <p:nvPr/>
        </p:nvSpPr>
        <p:spPr bwMode="gray">
          <a:xfrm>
            <a:off x="457200" y="3722545"/>
            <a:ext cx="1286082" cy="1050517"/>
          </a:xfrm>
          <a:prstGeom prst="rect">
            <a:avLst/>
          </a:prstGeom>
          <a:solidFill>
            <a:schemeClr val="bg1">
              <a:lumMod val="60000"/>
              <a:lumOff val="40000"/>
            </a:schemeClr>
          </a:solidFill>
          <a:ln w="12700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vert="horz" wrap="square" lIns="0" tIns="0" rIns="0" bIns="0" anchor="ctr"/>
          <a:lstStyle/>
          <a:p>
            <a:pPr algn="ctr" defTabSz="80168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1000" b="1" dirty="0">
              <a:solidFill>
                <a:srgbClr val="FFE600"/>
              </a:solidFill>
            </a:endParaRPr>
          </a:p>
          <a:p>
            <a:pPr algn="ctr" defTabSz="80168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3600" b="1" dirty="0">
                <a:solidFill>
                  <a:srgbClr val="FFE600"/>
                </a:solidFill>
              </a:rPr>
              <a:t>3</a:t>
            </a:r>
          </a:p>
          <a:p>
            <a:pPr algn="ctr" defTabSz="80168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1600" b="1" dirty="0">
              <a:solidFill>
                <a:schemeClr val="bg1"/>
              </a:solidFill>
              <a:latin typeface="EYInterstate" panose="02000503020000020004" pitchFamily="2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04490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B88655D2-0FCA-4243-9EDC-5F57622C72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6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B88655D2-0FCA-4243-9EDC-5F57622C721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C93CA641-93BA-4A85-97DB-577A714853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/>
            <a:endParaRPr lang="ru-RU" sz="2200" b="1" dirty="0">
              <a:solidFill>
                <a:schemeClr val="tx1"/>
              </a:solidFill>
              <a:latin typeface="EYInterstate" panose="02000503020000020004" pitchFamily="2" charset="0"/>
              <a:ea typeface="+mj-ea"/>
              <a:cs typeface="Arial" panose="020B0604020202020204" pitchFamily="34" charset="0"/>
              <a:sym typeface="EYInterstate" panose="02000503020000020004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DA2FBA9-88CD-4E66-89F3-DD9D92945E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888" y="322188"/>
            <a:ext cx="8229600" cy="590400"/>
          </a:xfrm>
        </p:spPr>
        <p:txBody>
          <a:bodyPr vert="horz"/>
          <a:lstStyle/>
          <a:p>
            <a:r>
              <a:rPr lang="ru-RU" sz="2000" dirty="0">
                <a:latin typeface="Arial" panose="020B0604020202020204" pitchFamily="34" charset="0"/>
              </a:rPr>
              <a:t>Максимизация налоговых поступлений в бюджет</a:t>
            </a:r>
            <a:endParaRPr lang="en-US" sz="200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DE44F6-0562-4EF9-AD5A-5F2645B66B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3093" y="6516456"/>
            <a:ext cx="903732" cy="180000"/>
          </a:xfrm>
        </p:spPr>
        <p:txBody>
          <a:bodyPr/>
          <a:lstStyle/>
          <a:p>
            <a:r>
              <a:rPr lang="ru-RU" dirty="0"/>
              <a:t>Стр.</a:t>
            </a:r>
            <a:r>
              <a:rPr lang="en-IN" dirty="0"/>
              <a:t> </a:t>
            </a:r>
            <a:fld id="{F1BC30E3-FFE5-4B91-AA19-87A149EBB9EE}" type="slidenum">
              <a:rPr smtClean="0"/>
              <a:pPr/>
              <a:t>5</a:t>
            </a:fld>
            <a:endParaRPr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29F5E7-4114-4A63-8DFF-0434581C1883}"/>
              </a:ext>
            </a:extLst>
          </p:cNvPr>
          <p:cNvSpPr txBox="1"/>
          <p:nvPr/>
        </p:nvSpPr>
        <p:spPr>
          <a:xfrm>
            <a:off x="4184376" y="1504810"/>
            <a:ext cx="126638" cy="246221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600" b="1" dirty="0"/>
              <a:t>1</a:t>
            </a:r>
            <a:endParaRPr lang="en-US" sz="1400" b="1" dirty="0" err="1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0879FCA-1170-4FBA-A946-98160187419E}"/>
              </a:ext>
            </a:extLst>
          </p:cNvPr>
          <p:cNvSpPr/>
          <p:nvPr/>
        </p:nvSpPr>
        <p:spPr>
          <a:xfrm>
            <a:off x="4347764" y="2046674"/>
            <a:ext cx="311304" cy="3016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600" b="1" dirty="0"/>
              <a:t>2</a:t>
            </a:r>
            <a:endParaRPr lang="en-US" sz="1600" b="1" dirty="0" err="1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63DDB4A-9BFA-4131-980B-73CB53FFE25A}"/>
              </a:ext>
            </a:extLst>
          </p:cNvPr>
          <p:cNvSpPr/>
          <p:nvPr/>
        </p:nvSpPr>
        <p:spPr>
          <a:xfrm>
            <a:off x="4419021" y="2303133"/>
            <a:ext cx="327334" cy="3277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b="1" dirty="0"/>
              <a:t>3</a:t>
            </a:r>
            <a:endParaRPr lang="en-US" sz="1600" b="1" dirty="0" err="1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25EFA0C-CCBC-4AC3-A737-F7EF880962F4}"/>
              </a:ext>
            </a:extLst>
          </p:cNvPr>
          <p:cNvSpPr/>
          <p:nvPr/>
        </p:nvSpPr>
        <p:spPr>
          <a:xfrm>
            <a:off x="4326941" y="2828083"/>
            <a:ext cx="327334" cy="3277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b="1" dirty="0"/>
              <a:t>4</a:t>
            </a:r>
            <a:endParaRPr lang="en-US" sz="1600" b="1" dirty="0" err="1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33F4380-2486-4ABD-AB1D-9B8D3F65B91F}"/>
              </a:ext>
            </a:extLst>
          </p:cNvPr>
          <p:cNvSpPr/>
          <p:nvPr/>
        </p:nvSpPr>
        <p:spPr>
          <a:xfrm>
            <a:off x="4081177" y="3381638"/>
            <a:ext cx="327334" cy="3277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b="1" dirty="0"/>
              <a:t>5</a:t>
            </a:r>
            <a:endParaRPr lang="en-US" sz="1600" b="1" dirty="0" err="1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323C499-6DE1-4A52-BF39-02F507E8B285}"/>
              </a:ext>
            </a:extLst>
          </p:cNvPr>
          <p:cNvSpPr txBox="1"/>
          <p:nvPr/>
        </p:nvSpPr>
        <p:spPr>
          <a:xfrm>
            <a:off x="467888" y="1268234"/>
            <a:ext cx="8229600" cy="100687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171450" marR="0" indent="-171450" algn="just" defTabSz="685434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►"/>
            </a:pPr>
            <a:r>
              <a:rPr lang="ru-RU" sz="1400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гласно теории </a:t>
            </a:r>
            <a:r>
              <a:rPr lang="ru-RU" sz="1400" dirty="0" err="1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аффера</a:t>
            </a:r>
            <a:r>
              <a:rPr lang="ru-RU" sz="1400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если налоги слишком высоки, то они будут препятствовать налогооблагаемой деятельности. </a:t>
            </a:r>
          </a:p>
          <a:p>
            <a:pPr marL="171450" marR="0" indent="-171450" algn="just" defTabSz="685434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►"/>
            </a:pPr>
            <a:r>
              <a:rPr lang="ru-RU" sz="1400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ышение налоговых ставок после определенного уровня подрывает стимулы к производственной деятельности, что ведет к уменьшению поступлений налогов в бюджет.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BF2368CA-BB73-4200-AF8C-47B2EC572F7E}"/>
              </a:ext>
            </a:extLst>
          </p:cNvPr>
          <p:cNvPicPr/>
          <p:nvPr/>
        </p:nvPicPr>
        <p:blipFill>
          <a:blip r:embed="rId7"/>
          <a:stretch>
            <a:fillRect/>
          </a:stretch>
        </p:blipFill>
        <p:spPr>
          <a:xfrm>
            <a:off x="1924050" y="2836766"/>
            <a:ext cx="5295900" cy="3367220"/>
          </a:xfrm>
          <a:prstGeom prst="rect">
            <a:avLst/>
          </a:prstGeom>
        </p:spPr>
      </p:pic>
      <p:sp>
        <p:nvSpPr>
          <p:cNvPr id="18" name="Oval 17">
            <a:extLst>
              <a:ext uri="{FF2B5EF4-FFF2-40B4-BE49-F238E27FC236}">
                <a16:creationId xmlns:a16="http://schemas.microsoft.com/office/drawing/2014/main" id="{979A5814-6D4C-44AC-8697-535689BDCFBF}"/>
              </a:ext>
            </a:extLst>
          </p:cNvPr>
          <p:cNvSpPr/>
          <p:nvPr/>
        </p:nvSpPr>
        <p:spPr>
          <a:xfrm>
            <a:off x="3995452" y="3990975"/>
            <a:ext cx="1500473" cy="1019175"/>
          </a:xfrm>
          <a:prstGeom prst="ellipse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14366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B63C3AB-5D00-4DE4-BCF3-84E57719B49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08108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0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B63C3AB-5D00-4DE4-BCF3-84E57719B49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17D4FAD-14E4-436C-86ED-585AD95490F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/>
            <a:endParaRPr kumimoji="0" lang="ru-RU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" panose="02000503020000020004" pitchFamily="2" charset="0"/>
              <a:ea typeface="+mj-ea"/>
              <a:cs typeface="Arial" panose="020B0604020202020204" pitchFamily="34" charset="0"/>
              <a:sym typeface="EYInterstate" panose="02000503020000020004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D54FC9A-EB37-4482-BBE2-3F740CBF13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6811" y="297152"/>
            <a:ext cx="8189857" cy="654888"/>
          </a:xfrm>
        </p:spPr>
        <p:txBody>
          <a:bodyPr vert="horz"/>
          <a:lstStyle/>
          <a:p>
            <a:r>
              <a:rPr lang="ru-RU" sz="2000" dirty="0">
                <a:latin typeface="Arial" panose="020B0604020202020204" pitchFamily="34" charset="0"/>
              </a:rPr>
              <a:t>Коэффициент налоговой нагрузки</a:t>
            </a:r>
            <a:endParaRPr lang="en-US" sz="200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DB709D-4D55-4170-8B8C-86747C9939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3093" y="6516456"/>
            <a:ext cx="663066" cy="1800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Стр.</a:t>
            </a:r>
            <a:r>
              <a:rPr kumimoji="0" lang="en-IN" sz="8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 </a:t>
            </a:r>
            <a:fld id="{F1BC30E3-FFE5-4B91-AA19-87A149EBB9EE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27B03C3B-D26A-48C1-9BD5-38E4623A1167}"/>
              </a:ext>
            </a:extLst>
          </p:cNvPr>
          <p:cNvGrpSpPr/>
          <p:nvPr/>
        </p:nvGrpSpPr>
        <p:grpSpPr>
          <a:xfrm>
            <a:off x="468427" y="2236081"/>
            <a:ext cx="8241211" cy="362109"/>
            <a:chOff x="468428" y="2324124"/>
            <a:chExt cx="8241211" cy="362109"/>
          </a:xfrm>
        </p:grpSpPr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02646020-B630-4E94-866B-A7242530A3B0}"/>
                </a:ext>
              </a:extLst>
            </p:cNvPr>
            <p:cNvSpPr/>
            <p:nvPr/>
          </p:nvSpPr>
          <p:spPr>
            <a:xfrm>
              <a:off x="468428" y="2324124"/>
              <a:ext cx="8241211" cy="362109"/>
            </a:xfrm>
            <a:prstGeom prst="rect">
              <a:avLst/>
            </a:prstGeom>
            <a:solidFill>
              <a:schemeClr val="tx1">
                <a:lumMod val="85000"/>
              </a:schemeClr>
            </a:solidFill>
            <a:ln>
              <a:noFill/>
            </a:ln>
          </p:spPr>
          <p:style>
            <a:lnRef idx="2">
              <a:schemeClr val="dk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969696"/>
                </a:buClr>
                <a:buSzTx/>
                <a:buFontTx/>
                <a:buNone/>
                <a:tabLst/>
                <a:defRPr/>
              </a:pPr>
              <a:endParaRPr kumimoji="0" lang="en-US" sz="1400" b="1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7D4BFC23-A372-4415-9F24-10F07E5DC752}"/>
                </a:ext>
              </a:extLst>
            </p:cNvPr>
            <p:cNvGrpSpPr/>
            <p:nvPr/>
          </p:nvGrpSpPr>
          <p:grpSpPr>
            <a:xfrm>
              <a:off x="509710" y="2347889"/>
              <a:ext cx="340470" cy="323969"/>
              <a:chOff x="463549" y="1555750"/>
              <a:chExt cx="1299466" cy="1299466"/>
            </a:xfrm>
          </p:grpSpPr>
          <p:sp>
            <p:nvSpPr>
              <p:cNvPr id="34" name="Ellipse 33">
                <a:extLst>
                  <a:ext uri="{FF2B5EF4-FFF2-40B4-BE49-F238E27FC236}">
                    <a16:creationId xmlns:a16="http://schemas.microsoft.com/office/drawing/2014/main" id="{B0857F08-0F25-4377-938C-33652CAAA3A0}"/>
                  </a:ext>
                </a:extLst>
              </p:cNvPr>
              <p:cNvSpPr/>
              <p:nvPr/>
            </p:nvSpPr>
            <p:spPr bwMode="gray">
              <a:xfrm>
                <a:off x="591572" y="1683772"/>
                <a:ext cx="1043420" cy="1043419"/>
              </a:xfrm>
              <a:prstGeom prst="ellipse">
                <a:avLst/>
              </a:prstGeom>
              <a:solidFill>
                <a:srgbClr val="808080"/>
              </a:solidFill>
              <a:ln>
                <a:noFill/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400" b="1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2</a:t>
                </a:r>
                <a:endParaRPr kumimoji="0" lang="en-US" sz="1400" b="1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Rad 1">
                <a:extLst>
                  <a:ext uri="{FF2B5EF4-FFF2-40B4-BE49-F238E27FC236}">
                    <a16:creationId xmlns:a16="http://schemas.microsoft.com/office/drawing/2014/main" id="{00CD50B4-57A8-4E49-8F9F-DCCC5DD259CE}"/>
                  </a:ext>
                </a:extLst>
              </p:cNvPr>
              <p:cNvSpPr/>
              <p:nvPr/>
            </p:nvSpPr>
            <p:spPr bwMode="gray">
              <a:xfrm>
                <a:off x="463549" y="1555750"/>
                <a:ext cx="1299466" cy="1299466"/>
              </a:xfrm>
              <a:prstGeom prst="donut">
                <a:avLst>
                  <a:gd name="adj" fmla="val 11326"/>
                </a:avLst>
              </a:prstGeom>
              <a:solidFill>
                <a:srgbClr val="FFE600"/>
              </a:solidFill>
              <a:ln>
                <a:noFill/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1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endParaRPr>
              </a:p>
            </p:txBody>
          </p:sp>
        </p:grp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6B816E87-3E76-4705-8524-D40B0578DA29}"/>
                </a:ext>
              </a:extLst>
            </p:cNvPr>
            <p:cNvSpPr txBox="1"/>
            <p:nvPr/>
          </p:nvSpPr>
          <p:spPr>
            <a:xfrm>
              <a:off x="994947" y="2391281"/>
              <a:ext cx="7532134" cy="252377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defTabSz="685434">
                <a:buClr>
                  <a:schemeClr val="tx2"/>
                </a:buClr>
              </a:pPr>
              <a:r>
                <a:rPr lang="ru-RU" sz="1400" b="1" dirty="0">
                  <a:solidFill>
                    <a:schemeClr val="l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НН не учитывает таможенные платежи и иные обязательства недропользователей</a:t>
              </a:r>
              <a:endParaRPr lang="en-US" sz="1400" b="1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0DA349AD-2525-4CB9-A816-4FCDCC92B706}"/>
              </a:ext>
            </a:extLst>
          </p:cNvPr>
          <p:cNvGrpSpPr/>
          <p:nvPr/>
        </p:nvGrpSpPr>
        <p:grpSpPr>
          <a:xfrm>
            <a:off x="469700" y="1705128"/>
            <a:ext cx="8256711" cy="501340"/>
            <a:chOff x="469700" y="1381055"/>
            <a:chExt cx="8256711" cy="50134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2CA2FE6-BBFB-46EF-868E-4284BF556757}"/>
                </a:ext>
              </a:extLst>
            </p:cNvPr>
            <p:cNvSpPr/>
            <p:nvPr/>
          </p:nvSpPr>
          <p:spPr>
            <a:xfrm>
              <a:off x="469700" y="1381055"/>
              <a:ext cx="8241211" cy="362109"/>
            </a:xfrm>
            <a:prstGeom prst="rect">
              <a:avLst/>
            </a:prstGeom>
            <a:solidFill>
              <a:schemeClr val="tx1">
                <a:lumMod val="85000"/>
              </a:schemeClr>
            </a:solidFill>
            <a:ln>
              <a:noFill/>
            </a:ln>
          </p:spPr>
          <p:style>
            <a:lnRef idx="2">
              <a:schemeClr val="dk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969696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AD63B25A-925A-4E46-B1AC-5B85E63BDE34}"/>
                </a:ext>
              </a:extLst>
            </p:cNvPr>
            <p:cNvSpPr txBox="1"/>
            <p:nvPr/>
          </p:nvSpPr>
          <p:spPr>
            <a:xfrm>
              <a:off x="966965" y="1446891"/>
              <a:ext cx="7759446" cy="435504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buClr>
                  <a:schemeClr val="tx2"/>
                </a:buClr>
              </a:pPr>
              <a:r>
                <a:rPr lang="ru-RU" sz="1400" b="1" dirty="0">
                  <a:solidFill>
                    <a:schemeClr val="l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спользование КНН не позволяет максимизировать налоговые поступления в бюджет</a:t>
              </a:r>
            </a:p>
            <a:p>
              <a:pPr marL="356616" marR="0" lvl="0" indent="-356616" algn="l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7ACAA"/>
                </a:buClr>
                <a:buSzPct val="70000"/>
                <a:buFont typeface="Arial" pitchFamily="34" charset="0"/>
                <a:buChar char="►"/>
                <a:tabLst/>
                <a:defRPr/>
              </a:pPr>
              <a:endPara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A470AE3D-F547-40A0-AA0C-E03F923225ED}"/>
                </a:ext>
              </a:extLst>
            </p:cNvPr>
            <p:cNvGrpSpPr/>
            <p:nvPr/>
          </p:nvGrpSpPr>
          <p:grpSpPr>
            <a:xfrm>
              <a:off x="512780" y="1403313"/>
              <a:ext cx="340470" cy="323969"/>
              <a:chOff x="463549" y="1555750"/>
              <a:chExt cx="1299466" cy="1299466"/>
            </a:xfrm>
          </p:grpSpPr>
          <p:sp>
            <p:nvSpPr>
              <p:cNvPr id="31" name="Ellipse 33">
                <a:extLst>
                  <a:ext uri="{FF2B5EF4-FFF2-40B4-BE49-F238E27FC236}">
                    <a16:creationId xmlns:a16="http://schemas.microsoft.com/office/drawing/2014/main" id="{693914FD-7B7B-4CED-B2F7-0481FDBAAB67}"/>
                  </a:ext>
                </a:extLst>
              </p:cNvPr>
              <p:cNvSpPr/>
              <p:nvPr/>
            </p:nvSpPr>
            <p:spPr bwMode="gray">
              <a:xfrm>
                <a:off x="591572" y="1683772"/>
                <a:ext cx="1043420" cy="1043419"/>
              </a:xfrm>
              <a:prstGeom prst="ellipse">
                <a:avLst/>
              </a:prstGeom>
              <a:solidFill>
                <a:srgbClr val="808080"/>
              </a:solidFill>
              <a:ln>
                <a:noFill/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1</a:t>
                </a:r>
              </a:p>
            </p:txBody>
          </p:sp>
          <p:sp>
            <p:nvSpPr>
              <p:cNvPr id="32" name="Rad 1">
                <a:extLst>
                  <a:ext uri="{FF2B5EF4-FFF2-40B4-BE49-F238E27FC236}">
                    <a16:creationId xmlns:a16="http://schemas.microsoft.com/office/drawing/2014/main" id="{8E368989-A30D-4493-9924-140BF47E704F}"/>
                  </a:ext>
                </a:extLst>
              </p:cNvPr>
              <p:cNvSpPr/>
              <p:nvPr/>
            </p:nvSpPr>
            <p:spPr bwMode="gray">
              <a:xfrm>
                <a:off x="463549" y="1555750"/>
                <a:ext cx="1299466" cy="1299466"/>
              </a:xfrm>
              <a:prstGeom prst="donut">
                <a:avLst>
                  <a:gd name="adj" fmla="val 11326"/>
                </a:avLst>
              </a:prstGeom>
              <a:solidFill>
                <a:srgbClr val="FFE600"/>
              </a:solidFill>
              <a:ln>
                <a:noFill/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499FD75E-B7E9-4256-8156-981BF39F788A}"/>
              </a:ext>
            </a:extLst>
          </p:cNvPr>
          <p:cNvGrpSpPr/>
          <p:nvPr/>
        </p:nvGrpSpPr>
        <p:grpSpPr>
          <a:xfrm>
            <a:off x="461207" y="2799929"/>
            <a:ext cx="8241211" cy="362109"/>
            <a:chOff x="479043" y="3434696"/>
            <a:chExt cx="8241211" cy="362109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AB2FD314-A00B-4635-840B-63FEE773ED38}"/>
                </a:ext>
              </a:extLst>
            </p:cNvPr>
            <p:cNvSpPr/>
            <p:nvPr/>
          </p:nvSpPr>
          <p:spPr>
            <a:xfrm>
              <a:off x="479043" y="3434696"/>
              <a:ext cx="8241211" cy="362109"/>
            </a:xfrm>
            <a:prstGeom prst="rect">
              <a:avLst/>
            </a:prstGeom>
            <a:solidFill>
              <a:schemeClr val="tx1">
                <a:lumMod val="85000"/>
              </a:schemeClr>
            </a:solidFill>
            <a:ln>
              <a:noFill/>
            </a:ln>
          </p:spPr>
          <p:style>
            <a:lnRef idx="2">
              <a:schemeClr val="dk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969696"/>
                </a:buClr>
                <a:buSzTx/>
                <a:buFontTx/>
                <a:buNone/>
                <a:tabLst/>
                <a:defRPr/>
              </a:pPr>
              <a:endParaRPr kumimoji="0" lang="en-US" sz="1400" b="1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1EAD4967-BDB3-41D4-BBAE-8AFF7BEADEF5}"/>
                </a:ext>
              </a:extLst>
            </p:cNvPr>
            <p:cNvGrpSpPr/>
            <p:nvPr/>
          </p:nvGrpSpPr>
          <p:grpSpPr>
            <a:xfrm>
              <a:off x="519053" y="3449565"/>
              <a:ext cx="340470" cy="323969"/>
              <a:chOff x="463549" y="1555750"/>
              <a:chExt cx="1299466" cy="1299466"/>
            </a:xfrm>
          </p:grpSpPr>
          <p:sp>
            <p:nvSpPr>
              <p:cNvPr id="39" name="Ellipse 33">
                <a:extLst>
                  <a:ext uri="{FF2B5EF4-FFF2-40B4-BE49-F238E27FC236}">
                    <a16:creationId xmlns:a16="http://schemas.microsoft.com/office/drawing/2014/main" id="{B0BF7668-1C3E-44F7-84B8-3FC7D7C74E39}"/>
                  </a:ext>
                </a:extLst>
              </p:cNvPr>
              <p:cNvSpPr/>
              <p:nvPr/>
            </p:nvSpPr>
            <p:spPr bwMode="gray">
              <a:xfrm>
                <a:off x="591572" y="1683772"/>
                <a:ext cx="1043420" cy="1043419"/>
              </a:xfrm>
              <a:prstGeom prst="ellipse">
                <a:avLst/>
              </a:prstGeom>
              <a:solidFill>
                <a:srgbClr val="808080"/>
              </a:solidFill>
              <a:ln>
                <a:noFill/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400" b="1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3</a:t>
                </a:r>
                <a:endParaRPr kumimoji="0" lang="en-US" sz="1400" b="1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0" name="Rad 1">
                <a:extLst>
                  <a:ext uri="{FF2B5EF4-FFF2-40B4-BE49-F238E27FC236}">
                    <a16:creationId xmlns:a16="http://schemas.microsoft.com/office/drawing/2014/main" id="{DFE6A738-FBBF-4CAE-8454-E7059F7A0EE7}"/>
                  </a:ext>
                </a:extLst>
              </p:cNvPr>
              <p:cNvSpPr/>
              <p:nvPr/>
            </p:nvSpPr>
            <p:spPr bwMode="gray">
              <a:xfrm>
                <a:off x="463549" y="1555750"/>
                <a:ext cx="1299466" cy="1299466"/>
              </a:xfrm>
              <a:prstGeom prst="donut">
                <a:avLst>
                  <a:gd name="adj" fmla="val 11326"/>
                </a:avLst>
              </a:prstGeom>
              <a:solidFill>
                <a:srgbClr val="FFE600"/>
              </a:solidFill>
              <a:ln>
                <a:noFill/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1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endParaRPr>
              </a:p>
            </p:txBody>
          </p:sp>
        </p:grp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8F655C6A-321A-44F8-806F-416821FF895C}"/>
                </a:ext>
              </a:extLst>
            </p:cNvPr>
            <p:cNvSpPr txBox="1"/>
            <p:nvPr/>
          </p:nvSpPr>
          <p:spPr>
            <a:xfrm>
              <a:off x="976308" y="3526734"/>
              <a:ext cx="7741479" cy="220060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lvl="0" defTabSz="685434">
                <a:lnSpc>
                  <a:spcPct val="85000"/>
                </a:lnSpc>
                <a:spcAft>
                  <a:spcPts val="600"/>
                </a:spcAft>
                <a:buClr>
                  <a:schemeClr val="tx2"/>
                </a:buClr>
                <a:defRPr/>
              </a:pPr>
              <a:r>
                <a:rPr lang="ru-RU" sz="1400" b="1" dirty="0">
                  <a:solidFill>
                    <a:schemeClr val="l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НН не учитывает суммы НДС, накопленного до начала добычи</a:t>
              </a:r>
              <a:endParaRPr lang="en-US" sz="1400" b="1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9243553-79E6-4DE1-9170-4CBF8C2FCC5A}"/>
              </a:ext>
            </a:extLst>
          </p:cNvPr>
          <p:cNvGrpSpPr/>
          <p:nvPr/>
        </p:nvGrpSpPr>
        <p:grpSpPr>
          <a:xfrm>
            <a:off x="468427" y="3377430"/>
            <a:ext cx="8241211" cy="561255"/>
            <a:chOff x="479043" y="4511778"/>
            <a:chExt cx="8241211" cy="453661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E5378E89-3460-42F1-BD9F-A289506E5FC0}"/>
                </a:ext>
              </a:extLst>
            </p:cNvPr>
            <p:cNvSpPr/>
            <p:nvPr/>
          </p:nvSpPr>
          <p:spPr>
            <a:xfrm>
              <a:off x="479043" y="4511778"/>
              <a:ext cx="8241211" cy="409051"/>
            </a:xfrm>
            <a:prstGeom prst="rect">
              <a:avLst/>
            </a:prstGeom>
            <a:solidFill>
              <a:schemeClr val="tx1">
                <a:lumMod val="85000"/>
              </a:schemeClr>
            </a:solidFill>
            <a:ln>
              <a:noFill/>
            </a:ln>
          </p:spPr>
          <p:style>
            <a:lnRef idx="2">
              <a:schemeClr val="dk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969696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73816140-7B4B-4A6D-86E8-7FEFF131322A}"/>
                </a:ext>
              </a:extLst>
            </p:cNvPr>
            <p:cNvGrpSpPr/>
            <p:nvPr/>
          </p:nvGrpSpPr>
          <p:grpSpPr>
            <a:xfrm>
              <a:off x="519053" y="4526648"/>
              <a:ext cx="340470" cy="275316"/>
              <a:chOff x="463549" y="1555750"/>
              <a:chExt cx="1299466" cy="1104315"/>
            </a:xfrm>
          </p:grpSpPr>
          <p:sp>
            <p:nvSpPr>
              <p:cNvPr id="43" name="Ellipse 33">
                <a:extLst>
                  <a:ext uri="{FF2B5EF4-FFF2-40B4-BE49-F238E27FC236}">
                    <a16:creationId xmlns:a16="http://schemas.microsoft.com/office/drawing/2014/main" id="{36073C69-53E1-44A2-B904-E5F89DF27DAE}"/>
                  </a:ext>
                </a:extLst>
              </p:cNvPr>
              <p:cNvSpPr/>
              <p:nvPr/>
            </p:nvSpPr>
            <p:spPr bwMode="gray">
              <a:xfrm>
                <a:off x="591572" y="1683773"/>
                <a:ext cx="1043420" cy="872810"/>
              </a:xfrm>
              <a:prstGeom prst="ellipse">
                <a:avLst/>
              </a:prstGeom>
              <a:solidFill>
                <a:srgbClr val="808080"/>
              </a:solidFill>
              <a:ln>
                <a:noFill/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4</a:t>
                </a:r>
              </a:p>
            </p:txBody>
          </p:sp>
          <p:sp>
            <p:nvSpPr>
              <p:cNvPr id="44" name="Rad 1">
                <a:extLst>
                  <a:ext uri="{FF2B5EF4-FFF2-40B4-BE49-F238E27FC236}">
                    <a16:creationId xmlns:a16="http://schemas.microsoft.com/office/drawing/2014/main" id="{76EFD0F1-32CF-4E81-A003-9799D5B18611}"/>
                  </a:ext>
                </a:extLst>
              </p:cNvPr>
              <p:cNvSpPr/>
              <p:nvPr/>
            </p:nvSpPr>
            <p:spPr bwMode="gray">
              <a:xfrm>
                <a:off x="463549" y="1555750"/>
                <a:ext cx="1299466" cy="1104315"/>
              </a:xfrm>
              <a:prstGeom prst="donut">
                <a:avLst>
                  <a:gd name="adj" fmla="val 11326"/>
                </a:avLst>
              </a:prstGeom>
              <a:solidFill>
                <a:srgbClr val="FFE600"/>
              </a:solidFill>
              <a:ln>
                <a:noFill/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endParaRPr>
              </a:p>
            </p:txBody>
          </p:sp>
        </p:grp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0FF16B8A-1322-4FA3-97A3-162B092FB0BA}"/>
                </a:ext>
              </a:extLst>
            </p:cNvPr>
            <p:cNvSpPr txBox="1"/>
            <p:nvPr/>
          </p:nvSpPr>
          <p:spPr>
            <a:xfrm>
              <a:off x="976308" y="4562252"/>
              <a:ext cx="7709881" cy="403187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lvl="0" defTabSz="685434">
                <a:lnSpc>
                  <a:spcPct val="85000"/>
                </a:lnSpc>
                <a:spcAft>
                  <a:spcPts val="600"/>
                </a:spcAft>
                <a:buClr>
                  <a:schemeClr val="tx2"/>
                </a:buClr>
                <a:defRPr/>
              </a:pPr>
              <a:r>
                <a:rPr lang="ru-RU" sz="1400" b="1" dirty="0">
                  <a:solidFill>
                    <a:schemeClr val="l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НН не учитывает неравномерность налоговой нагрузки на различных этапах развития проекта</a:t>
              </a:r>
              <a:endParaRPr lang="ru" sz="1400" b="1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F42904C-49B9-4C0B-A2FC-2E879424D2B9}"/>
              </a:ext>
            </a:extLst>
          </p:cNvPr>
          <p:cNvGrpSpPr/>
          <p:nvPr/>
        </p:nvGrpSpPr>
        <p:grpSpPr>
          <a:xfrm>
            <a:off x="462153" y="3999648"/>
            <a:ext cx="8241211" cy="481521"/>
            <a:chOff x="468429" y="5486155"/>
            <a:chExt cx="8241211" cy="481521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235904E0-C31E-4657-9C20-5E97AA52712D}"/>
                </a:ext>
              </a:extLst>
            </p:cNvPr>
            <p:cNvSpPr/>
            <p:nvPr/>
          </p:nvSpPr>
          <p:spPr>
            <a:xfrm>
              <a:off x="468429" y="5486155"/>
              <a:ext cx="8241211" cy="481521"/>
            </a:xfrm>
            <a:prstGeom prst="rect">
              <a:avLst/>
            </a:prstGeom>
            <a:solidFill>
              <a:schemeClr val="tx1">
                <a:lumMod val="85000"/>
              </a:schemeClr>
            </a:solidFill>
            <a:ln>
              <a:noFill/>
            </a:ln>
          </p:spPr>
          <p:style>
            <a:lnRef idx="2">
              <a:schemeClr val="dk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969696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EC5395AD-32FE-47A3-97A6-F9DFA2A52D72}"/>
                </a:ext>
              </a:extLst>
            </p:cNvPr>
            <p:cNvGrpSpPr/>
            <p:nvPr/>
          </p:nvGrpSpPr>
          <p:grpSpPr>
            <a:xfrm>
              <a:off x="508439" y="5506104"/>
              <a:ext cx="340470" cy="323969"/>
              <a:chOff x="463549" y="1820638"/>
              <a:chExt cx="1299466" cy="1299468"/>
            </a:xfrm>
          </p:grpSpPr>
          <p:sp>
            <p:nvSpPr>
              <p:cNvPr id="49" name="Ellipse 33">
                <a:extLst>
                  <a:ext uri="{FF2B5EF4-FFF2-40B4-BE49-F238E27FC236}">
                    <a16:creationId xmlns:a16="http://schemas.microsoft.com/office/drawing/2014/main" id="{19D19283-CFF4-4225-A942-CC56FD665CA2}"/>
                  </a:ext>
                </a:extLst>
              </p:cNvPr>
              <p:cNvSpPr/>
              <p:nvPr/>
            </p:nvSpPr>
            <p:spPr bwMode="gray">
              <a:xfrm>
                <a:off x="591572" y="1969042"/>
                <a:ext cx="1043420" cy="1043420"/>
              </a:xfrm>
              <a:prstGeom prst="ellipse">
                <a:avLst/>
              </a:prstGeom>
              <a:solidFill>
                <a:srgbClr val="808080"/>
              </a:solidFill>
              <a:ln>
                <a:noFill/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5</a:t>
                </a:r>
              </a:p>
            </p:txBody>
          </p:sp>
          <p:sp>
            <p:nvSpPr>
              <p:cNvPr id="50" name="Rad 1">
                <a:extLst>
                  <a:ext uri="{FF2B5EF4-FFF2-40B4-BE49-F238E27FC236}">
                    <a16:creationId xmlns:a16="http://schemas.microsoft.com/office/drawing/2014/main" id="{131ABB4D-D1D9-48CB-94A3-636DB83DE355}"/>
                  </a:ext>
                </a:extLst>
              </p:cNvPr>
              <p:cNvSpPr/>
              <p:nvPr/>
            </p:nvSpPr>
            <p:spPr bwMode="gray">
              <a:xfrm>
                <a:off x="463549" y="1820638"/>
                <a:ext cx="1299466" cy="1299468"/>
              </a:xfrm>
              <a:prstGeom prst="donut">
                <a:avLst>
                  <a:gd name="adj" fmla="val 11326"/>
                </a:avLst>
              </a:prstGeom>
              <a:solidFill>
                <a:srgbClr val="FFE600"/>
              </a:solidFill>
              <a:ln>
                <a:noFill/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endParaRPr>
              </a:p>
            </p:txBody>
          </p:sp>
        </p:grp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821AE39A-C91F-4693-8D33-E806F5B3EF8E}"/>
                </a:ext>
              </a:extLst>
            </p:cNvPr>
            <p:cNvSpPr txBox="1"/>
            <p:nvPr/>
          </p:nvSpPr>
          <p:spPr>
            <a:xfrm>
              <a:off x="964748" y="5583176"/>
              <a:ext cx="6937753" cy="220060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lvl="0" defTabSz="685434">
                <a:lnSpc>
                  <a:spcPct val="85000"/>
                </a:lnSpc>
                <a:spcAft>
                  <a:spcPts val="600"/>
                </a:spcAft>
                <a:buClr>
                  <a:schemeClr val="tx2"/>
                </a:buClr>
                <a:defRPr/>
              </a:pPr>
              <a:r>
                <a:rPr lang="ru-RU" sz="1400" b="1" dirty="0">
                  <a:solidFill>
                    <a:schemeClr val="l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НН не учитывает специфики вертикально интегрированных производств</a:t>
              </a:r>
              <a:endParaRPr lang="ru" sz="1400" b="1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7055523A-4847-41C7-A194-D6A822432022}"/>
              </a:ext>
            </a:extLst>
          </p:cNvPr>
          <p:cNvSpPr txBox="1"/>
          <p:nvPr/>
        </p:nvSpPr>
        <p:spPr>
          <a:xfrm>
            <a:off x="467011" y="1159627"/>
            <a:ext cx="8199783" cy="429348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lvl="0">
              <a:lnSpc>
                <a:spcPct val="85000"/>
              </a:lnSpc>
              <a:spcAft>
                <a:spcPts val="600"/>
              </a:spcAft>
              <a:buClr>
                <a:srgbClr val="27ACAA"/>
              </a:buClr>
              <a:buSzPct val="70000"/>
            </a:pPr>
            <a:r>
              <a:rPr lang="ru-RU" sz="1600" b="1" dirty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ществующая методика расчета КНН</a:t>
            </a:r>
            <a:r>
              <a:rPr lang="en-US" sz="1600" b="1" dirty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endParaRPr kumimoji="0" lang="en-US" sz="1400" b="0" i="0" u="none" strike="noStrike" kern="1200" cap="none" spc="0" normalizeH="0" baseline="0" noProof="0" dirty="0" err="1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AutoShape 41">
            <a:extLst>
              <a:ext uri="{FF2B5EF4-FFF2-40B4-BE49-F238E27FC236}">
                <a16:creationId xmlns:a16="http://schemas.microsoft.com/office/drawing/2014/main" id="{528EEAE3-A173-4AE5-9E55-5DBAF9065D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7011" y="4759372"/>
            <a:ext cx="8229601" cy="1114972"/>
          </a:xfrm>
          <a:prstGeom prst="roundRect">
            <a:avLst/>
          </a:prstGeom>
          <a:solidFill>
            <a:srgbClr val="FFE800"/>
          </a:solidFill>
          <a:ln w="12700">
            <a:solidFill>
              <a:schemeClr val="bg2">
                <a:lumMod val="50000"/>
                <a:lumOff val="5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vert="horz" wrap="square" lIns="144000" tIns="45720" rIns="91440" bIns="45720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defRPr/>
            </a:pPr>
            <a:r>
              <a:rPr lang="ru-RU" sz="1500" kern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каз от оценки эффективности налогообложения лишь через КНН в совокупности с внедрением мер налогового стимулирования могут стать эффективным стимулом для привлечения инвестиций в горнорудный сектор экономики РК. </a:t>
            </a:r>
            <a:endParaRPr lang="ru-RU" sz="150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05306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32BE3C9-8AC1-4B01-A200-19BF78CEF5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2886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4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32BE3C9-8AC1-4B01-A200-19BF78CEF5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7" name="Rectangle 136" hidden="1">
            <a:extLst>
              <a:ext uri="{FF2B5EF4-FFF2-40B4-BE49-F238E27FC236}">
                <a16:creationId xmlns:a16="http://schemas.microsoft.com/office/drawing/2014/main" id="{91E74F43-FF1E-4F1A-8EA9-1E99E00ECF0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/>
            <a:endParaRPr lang="ru-RU" sz="2000" b="1" dirty="0">
              <a:solidFill>
                <a:schemeClr val="tx1"/>
              </a:solidFill>
              <a:latin typeface="EYInterstate" panose="02000503020000020004" pitchFamily="2" charset="0"/>
              <a:ea typeface="+mj-ea"/>
              <a:cs typeface="Arial" panose="020B0604020202020204" pitchFamily="34" charset="0"/>
              <a:sym typeface="EYInterstate" panose="02000503020000020004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1F7328E-6FB4-4835-94F1-465611B03C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52468"/>
            <a:ext cx="8229600" cy="660651"/>
          </a:xfrm>
        </p:spPr>
        <p:txBody>
          <a:bodyPr vert="horz"/>
          <a:lstStyle/>
          <a:p>
            <a:r>
              <a:rPr lang="ru-RU" sz="2000" dirty="0">
                <a:latin typeface="Arial" panose="020B0604020202020204" pitchFamily="34" charset="0"/>
              </a:rPr>
              <a:t>Для повышения инвестиционной привлекательности отрасли требуется улучшение фискального режима…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011257-3467-4E29-A6F4-BFF8C5A4E7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IN"/>
              <a:t> </a:t>
            </a:r>
            <a:fld id="{F1BC30E3-FFE5-4B91-AA19-87A149EBB9EE}" type="slidenum">
              <a:rPr smtClean="0"/>
              <a:pPr/>
              <a:t>7</a:t>
            </a:fld>
            <a:endParaRPr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DAD273A-F853-47A9-AAE0-1E35065948E8}"/>
              </a:ext>
            </a:extLst>
          </p:cNvPr>
          <p:cNvSpPr/>
          <p:nvPr/>
        </p:nvSpPr>
        <p:spPr>
          <a:xfrm>
            <a:off x="389775" y="1160315"/>
            <a:ext cx="8348428" cy="2893100"/>
          </a:xfrm>
          <a:prstGeom prst="rect">
            <a:avLst/>
          </a:prstGeom>
          <a:ln w="19050">
            <a:solidFill>
              <a:srgbClr val="FFC000"/>
            </a:solidFill>
          </a:ln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2E2E3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Казахстан имеет все предпосылки воспользоваться открывающимися возможностями</a:t>
            </a:r>
          </a:p>
          <a:p>
            <a:endParaRPr lang="ru-RU" sz="1400" b="1" dirty="0">
              <a:solidFill>
                <a:srgbClr val="2E2E38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endParaRPr lang="ru-RU" sz="1400" b="1" dirty="0">
              <a:solidFill>
                <a:srgbClr val="2E2E38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endParaRPr lang="ru-RU" sz="1400" b="1" dirty="0">
              <a:solidFill>
                <a:srgbClr val="2E2E38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endParaRPr lang="ru-RU" sz="1400" b="1" dirty="0">
              <a:solidFill>
                <a:srgbClr val="2E2E38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endParaRPr lang="ru-RU" sz="1400" b="1" dirty="0">
              <a:solidFill>
                <a:srgbClr val="2E2E38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endParaRPr lang="ru-RU" sz="1400" b="1" dirty="0">
              <a:solidFill>
                <a:srgbClr val="2E2E38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endParaRPr lang="ru-RU" sz="1400" b="1" dirty="0">
              <a:solidFill>
                <a:srgbClr val="2E2E38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endParaRPr lang="ru-RU" sz="1400" b="1" dirty="0">
              <a:solidFill>
                <a:srgbClr val="2E2E38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endParaRPr lang="ru-RU" sz="1400" b="1" dirty="0">
              <a:solidFill>
                <a:srgbClr val="2E2E38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endParaRPr lang="ru-RU" sz="1400" b="1" dirty="0">
              <a:solidFill>
                <a:srgbClr val="2E2E38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endParaRPr lang="ru-RU" sz="1400" b="1" dirty="0">
              <a:solidFill>
                <a:srgbClr val="2E2E38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endParaRPr lang="ru-RU" sz="1400" b="1" dirty="0">
              <a:solidFill>
                <a:srgbClr val="2E2E38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7C935EB-F124-470E-9D44-0BE2F7B12C3D}"/>
              </a:ext>
            </a:extLst>
          </p:cNvPr>
          <p:cNvSpPr/>
          <p:nvPr/>
        </p:nvSpPr>
        <p:spPr>
          <a:xfrm>
            <a:off x="400964" y="1741383"/>
            <a:ext cx="8343900" cy="4505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fontAlgn="base">
              <a:lnSpc>
                <a:spcPct val="95000"/>
              </a:lnSpc>
              <a:spcBef>
                <a:spcPct val="0"/>
              </a:spcBef>
              <a:buClr>
                <a:srgbClr val="969696"/>
              </a:buClr>
              <a:buFont typeface="Arial" panose="020B0604020202020204" pitchFamily="34" charset="0"/>
              <a:buChar char="•"/>
              <a:tabLst>
                <a:tab pos="180975" algn="l"/>
              </a:tabLst>
              <a:defRPr/>
            </a:pPr>
            <a:endParaRPr lang="en-US" sz="1050" dirty="0">
              <a:solidFill>
                <a:srgbClr val="646464"/>
              </a:solidFill>
              <a:latin typeface="Arial" panose="020B0604020202020204" pitchFamily="34" charset="0"/>
            </a:endParaRPr>
          </a:p>
          <a:p>
            <a:pPr fontAlgn="base">
              <a:lnSpc>
                <a:spcPct val="95000"/>
              </a:lnSpc>
              <a:spcBef>
                <a:spcPct val="0"/>
              </a:spcBef>
              <a:buClr>
                <a:srgbClr val="969696"/>
              </a:buClr>
              <a:tabLst>
                <a:tab pos="180975" algn="l"/>
              </a:tabLst>
              <a:defRPr/>
            </a:pPr>
            <a:endParaRPr lang="en-US" sz="1400" dirty="0">
              <a:solidFill>
                <a:srgbClr val="646464"/>
              </a:solidFill>
              <a:latin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D8E9272-BBB4-416F-BE0D-7A10C96F87A3}"/>
              </a:ext>
            </a:extLst>
          </p:cNvPr>
          <p:cNvSpPr/>
          <p:nvPr/>
        </p:nvSpPr>
        <p:spPr>
          <a:xfrm>
            <a:off x="356432" y="4579180"/>
            <a:ext cx="8381771" cy="523220"/>
          </a:xfrm>
          <a:prstGeom prst="rect">
            <a:avLst/>
          </a:prstGeom>
          <a:ln w="19050">
            <a:solidFill>
              <a:srgbClr val="FFC000"/>
            </a:solidFill>
          </a:ln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2E2E3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Но в отрасли есть определенные проблемы, которые не дают в полной мере раскрыть потенциал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940F9F4-3FAC-47F7-9613-FD88CCA6BB62}"/>
              </a:ext>
            </a:extLst>
          </p:cNvPr>
          <p:cNvSpPr/>
          <p:nvPr/>
        </p:nvSpPr>
        <p:spPr>
          <a:xfrm>
            <a:off x="797564" y="1745004"/>
            <a:ext cx="1857630" cy="21390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lnSpc>
                <a:spcPct val="95000"/>
              </a:lnSpc>
              <a:spcBef>
                <a:spcPct val="0"/>
              </a:spcBef>
              <a:buClr>
                <a:srgbClr val="969696"/>
              </a:buClr>
              <a:tabLst>
                <a:tab pos="180975" algn="l"/>
              </a:tabLst>
              <a:defRPr/>
            </a:pPr>
            <a:r>
              <a:rPr 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внутреннем рынке Казахстана спрос  на золото не очень велик. </a:t>
            </a:r>
            <a:r>
              <a:rPr lang="ru-RU" sz="1400" dirty="0">
                <a:solidFill>
                  <a:schemeClr val="bg1"/>
                </a:solidFill>
                <a:highlight>
                  <a:srgbClr val="FFE6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Казахстан мог бы </a:t>
            </a:r>
            <a:r>
              <a:rPr 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жде всего </a:t>
            </a:r>
            <a:r>
              <a:rPr lang="ru-RU" sz="1400" dirty="0">
                <a:solidFill>
                  <a:schemeClr val="bg1"/>
                </a:solidFill>
                <a:highlight>
                  <a:srgbClr val="FFE6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удовлетворять мировой инвестиционный спрос на золото</a:t>
            </a:r>
            <a:r>
              <a:rPr 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F92FFBE-7EB6-46DD-A182-78C80B64AC0C}"/>
              </a:ext>
            </a:extLst>
          </p:cNvPr>
          <p:cNvSpPr/>
          <p:nvPr/>
        </p:nvSpPr>
        <p:spPr>
          <a:xfrm>
            <a:off x="2919722" y="1745004"/>
            <a:ext cx="1800407" cy="21390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lnSpc>
                <a:spcPct val="95000"/>
              </a:lnSpc>
              <a:spcBef>
                <a:spcPct val="0"/>
              </a:spcBef>
              <a:buClr>
                <a:srgbClr val="969696"/>
              </a:buClr>
              <a:tabLst>
                <a:tab pos="180975" algn="l"/>
              </a:tabLst>
              <a:defRPr/>
            </a:pPr>
            <a:r>
              <a:rPr 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смотря на удорожание производства золота, сохраняются высокие цена и спрос, </a:t>
            </a:r>
            <a:r>
              <a:rPr lang="ru-RU" sz="1400" dirty="0">
                <a:solidFill>
                  <a:schemeClr val="bg1"/>
                </a:solidFill>
                <a:highlight>
                  <a:srgbClr val="FFE6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добыча и переработка золота остаются рентабельными</a:t>
            </a:r>
            <a:r>
              <a:rPr 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3087301-B403-4882-B45D-BC7EF8B8E8BF}"/>
              </a:ext>
            </a:extLst>
          </p:cNvPr>
          <p:cNvSpPr/>
          <p:nvPr/>
        </p:nvSpPr>
        <p:spPr>
          <a:xfrm>
            <a:off x="4954464" y="1780118"/>
            <a:ext cx="1715449" cy="21390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lnSpc>
                <a:spcPct val="95000"/>
              </a:lnSpc>
              <a:spcBef>
                <a:spcPct val="0"/>
              </a:spcBef>
              <a:buClr>
                <a:srgbClr val="969696"/>
              </a:buClr>
              <a:tabLst>
                <a:tab pos="180975" algn="l"/>
              </a:tabLst>
              <a:defRPr/>
            </a:pPr>
            <a:r>
              <a:rPr lang="ru-RU" sz="1400" dirty="0">
                <a:solidFill>
                  <a:schemeClr val="bg1"/>
                </a:solidFill>
                <a:highlight>
                  <a:srgbClr val="FFE6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Золото может стать серьезным каналом поступления иностранной валюты </a:t>
            </a:r>
            <a:r>
              <a:rPr 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экономику страны, если либерализовать его экспорт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4E87904-95A9-474F-AF4F-5C90E45CB01A}"/>
              </a:ext>
            </a:extLst>
          </p:cNvPr>
          <p:cNvSpPr/>
          <p:nvPr/>
        </p:nvSpPr>
        <p:spPr>
          <a:xfrm>
            <a:off x="6809619" y="1745004"/>
            <a:ext cx="1914237" cy="21390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lnSpc>
                <a:spcPct val="95000"/>
              </a:lnSpc>
              <a:spcBef>
                <a:spcPct val="0"/>
              </a:spcBef>
              <a:buClr>
                <a:srgbClr val="969696"/>
              </a:buClr>
              <a:tabLst>
                <a:tab pos="180975" algn="l"/>
              </a:tabLst>
              <a:defRPr/>
            </a:pPr>
            <a:r>
              <a:rPr 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тобы успеть использовать момент, </a:t>
            </a:r>
            <a:r>
              <a:rPr lang="ru-RU" sz="1400" dirty="0">
                <a:solidFill>
                  <a:schemeClr val="bg1"/>
                </a:solidFill>
                <a:highlight>
                  <a:srgbClr val="FFE6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необходимо </a:t>
            </a:r>
            <a:r>
              <a:rPr 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же сейчас </a:t>
            </a:r>
            <a:r>
              <a:rPr lang="ru-RU" sz="1400" dirty="0">
                <a:solidFill>
                  <a:schemeClr val="bg1"/>
                </a:solidFill>
                <a:highlight>
                  <a:srgbClr val="FFE6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готовить новые проекты</a:t>
            </a:r>
            <a:r>
              <a:rPr 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В мире с этим эффективнее всех справляются юниорские компании.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202D3DA-E219-4F9F-A716-904BC1650471}"/>
              </a:ext>
            </a:extLst>
          </p:cNvPr>
          <p:cNvGrpSpPr/>
          <p:nvPr/>
        </p:nvGrpSpPr>
        <p:grpSpPr>
          <a:xfrm>
            <a:off x="400964" y="1780118"/>
            <a:ext cx="415499" cy="302683"/>
            <a:chOff x="5035550" y="3189288"/>
            <a:chExt cx="1181100" cy="793750"/>
          </a:xfrm>
          <a:solidFill>
            <a:schemeClr val="bg1"/>
          </a:solidFill>
        </p:grpSpPr>
        <p:sp>
          <p:nvSpPr>
            <p:cNvPr id="15" name="Freeform 37">
              <a:extLst>
                <a:ext uri="{FF2B5EF4-FFF2-40B4-BE49-F238E27FC236}">
                  <a16:creationId xmlns:a16="http://schemas.microsoft.com/office/drawing/2014/main" id="{F12998D0-6393-455F-92D1-5F735C9A5B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5550" y="3773488"/>
              <a:ext cx="425450" cy="209550"/>
            </a:xfrm>
            <a:custGeom>
              <a:avLst/>
              <a:gdLst>
                <a:gd name="T0" fmla="*/ 268 w 268"/>
                <a:gd name="T1" fmla="*/ 132 h 132"/>
                <a:gd name="T2" fmla="*/ 0 w 268"/>
                <a:gd name="T3" fmla="*/ 132 h 132"/>
                <a:gd name="T4" fmla="*/ 64 w 268"/>
                <a:gd name="T5" fmla="*/ 0 h 132"/>
                <a:gd name="T6" fmla="*/ 206 w 268"/>
                <a:gd name="T7" fmla="*/ 0 h 132"/>
                <a:gd name="T8" fmla="*/ 268 w 268"/>
                <a:gd name="T9" fmla="*/ 132 h 132"/>
                <a:gd name="T10" fmla="*/ 30 w 268"/>
                <a:gd name="T11" fmla="*/ 114 h 132"/>
                <a:gd name="T12" fmla="*/ 240 w 268"/>
                <a:gd name="T13" fmla="*/ 114 h 132"/>
                <a:gd name="T14" fmla="*/ 194 w 268"/>
                <a:gd name="T15" fmla="*/ 18 h 132"/>
                <a:gd name="T16" fmla="*/ 74 w 268"/>
                <a:gd name="T17" fmla="*/ 18 h 132"/>
                <a:gd name="T18" fmla="*/ 30 w 268"/>
                <a:gd name="T19" fmla="*/ 11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8" h="132">
                  <a:moveTo>
                    <a:pt x="268" y="132"/>
                  </a:moveTo>
                  <a:lnTo>
                    <a:pt x="0" y="132"/>
                  </a:lnTo>
                  <a:lnTo>
                    <a:pt x="64" y="0"/>
                  </a:lnTo>
                  <a:lnTo>
                    <a:pt x="206" y="0"/>
                  </a:lnTo>
                  <a:lnTo>
                    <a:pt x="268" y="132"/>
                  </a:lnTo>
                  <a:close/>
                  <a:moveTo>
                    <a:pt x="30" y="114"/>
                  </a:moveTo>
                  <a:lnTo>
                    <a:pt x="240" y="114"/>
                  </a:lnTo>
                  <a:lnTo>
                    <a:pt x="194" y="18"/>
                  </a:lnTo>
                  <a:lnTo>
                    <a:pt x="74" y="18"/>
                  </a:lnTo>
                  <a:lnTo>
                    <a:pt x="30" y="1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" name="Freeform 38">
              <a:extLst>
                <a:ext uri="{FF2B5EF4-FFF2-40B4-BE49-F238E27FC236}">
                  <a16:creationId xmlns:a16="http://schemas.microsoft.com/office/drawing/2014/main" id="{5EC3A6D4-D3BE-4D9D-A0D8-759842A508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16550" y="3773488"/>
              <a:ext cx="422275" cy="209550"/>
            </a:xfrm>
            <a:custGeom>
              <a:avLst/>
              <a:gdLst>
                <a:gd name="T0" fmla="*/ 266 w 266"/>
                <a:gd name="T1" fmla="*/ 132 h 132"/>
                <a:gd name="T2" fmla="*/ 0 w 266"/>
                <a:gd name="T3" fmla="*/ 132 h 132"/>
                <a:gd name="T4" fmla="*/ 62 w 266"/>
                <a:gd name="T5" fmla="*/ 0 h 132"/>
                <a:gd name="T6" fmla="*/ 204 w 266"/>
                <a:gd name="T7" fmla="*/ 0 h 132"/>
                <a:gd name="T8" fmla="*/ 266 w 266"/>
                <a:gd name="T9" fmla="*/ 132 h 132"/>
                <a:gd name="T10" fmla="*/ 28 w 266"/>
                <a:gd name="T11" fmla="*/ 114 h 132"/>
                <a:gd name="T12" fmla="*/ 238 w 266"/>
                <a:gd name="T13" fmla="*/ 114 h 132"/>
                <a:gd name="T14" fmla="*/ 192 w 266"/>
                <a:gd name="T15" fmla="*/ 18 h 132"/>
                <a:gd name="T16" fmla="*/ 74 w 266"/>
                <a:gd name="T17" fmla="*/ 18 h 132"/>
                <a:gd name="T18" fmla="*/ 28 w 266"/>
                <a:gd name="T19" fmla="*/ 11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132">
                  <a:moveTo>
                    <a:pt x="266" y="132"/>
                  </a:moveTo>
                  <a:lnTo>
                    <a:pt x="0" y="132"/>
                  </a:lnTo>
                  <a:lnTo>
                    <a:pt x="62" y="0"/>
                  </a:lnTo>
                  <a:lnTo>
                    <a:pt x="204" y="0"/>
                  </a:lnTo>
                  <a:lnTo>
                    <a:pt x="266" y="132"/>
                  </a:lnTo>
                  <a:close/>
                  <a:moveTo>
                    <a:pt x="28" y="114"/>
                  </a:moveTo>
                  <a:lnTo>
                    <a:pt x="238" y="114"/>
                  </a:lnTo>
                  <a:lnTo>
                    <a:pt x="192" y="18"/>
                  </a:lnTo>
                  <a:lnTo>
                    <a:pt x="74" y="18"/>
                  </a:lnTo>
                  <a:lnTo>
                    <a:pt x="28" y="1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Freeform 39">
              <a:extLst>
                <a:ext uri="{FF2B5EF4-FFF2-40B4-BE49-F238E27FC236}">
                  <a16:creationId xmlns:a16="http://schemas.microsoft.com/office/drawing/2014/main" id="{90BB98AE-EFA8-4BF8-83BB-47BD2991D5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4375" y="3773488"/>
              <a:ext cx="422275" cy="209550"/>
            </a:xfrm>
            <a:custGeom>
              <a:avLst/>
              <a:gdLst>
                <a:gd name="T0" fmla="*/ 266 w 266"/>
                <a:gd name="T1" fmla="*/ 132 h 132"/>
                <a:gd name="T2" fmla="*/ 0 w 266"/>
                <a:gd name="T3" fmla="*/ 132 h 132"/>
                <a:gd name="T4" fmla="*/ 62 w 266"/>
                <a:gd name="T5" fmla="*/ 0 h 132"/>
                <a:gd name="T6" fmla="*/ 204 w 266"/>
                <a:gd name="T7" fmla="*/ 0 h 132"/>
                <a:gd name="T8" fmla="*/ 266 w 266"/>
                <a:gd name="T9" fmla="*/ 132 h 132"/>
                <a:gd name="T10" fmla="*/ 28 w 266"/>
                <a:gd name="T11" fmla="*/ 114 h 132"/>
                <a:gd name="T12" fmla="*/ 238 w 266"/>
                <a:gd name="T13" fmla="*/ 114 h 132"/>
                <a:gd name="T14" fmla="*/ 192 w 266"/>
                <a:gd name="T15" fmla="*/ 18 h 132"/>
                <a:gd name="T16" fmla="*/ 74 w 266"/>
                <a:gd name="T17" fmla="*/ 18 h 132"/>
                <a:gd name="T18" fmla="*/ 28 w 266"/>
                <a:gd name="T19" fmla="*/ 11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132">
                  <a:moveTo>
                    <a:pt x="266" y="132"/>
                  </a:moveTo>
                  <a:lnTo>
                    <a:pt x="0" y="132"/>
                  </a:lnTo>
                  <a:lnTo>
                    <a:pt x="62" y="0"/>
                  </a:lnTo>
                  <a:lnTo>
                    <a:pt x="204" y="0"/>
                  </a:lnTo>
                  <a:lnTo>
                    <a:pt x="266" y="132"/>
                  </a:lnTo>
                  <a:close/>
                  <a:moveTo>
                    <a:pt x="28" y="114"/>
                  </a:moveTo>
                  <a:lnTo>
                    <a:pt x="238" y="114"/>
                  </a:lnTo>
                  <a:lnTo>
                    <a:pt x="192" y="18"/>
                  </a:lnTo>
                  <a:lnTo>
                    <a:pt x="74" y="18"/>
                  </a:lnTo>
                  <a:lnTo>
                    <a:pt x="28" y="1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" name="Freeform 40">
              <a:extLst>
                <a:ext uri="{FF2B5EF4-FFF2-40B4-BE49-F238E27FC236}">
                  <a16:creationId xmlns:a16="http://schemas.microsoft.com/office/drawing/2014/main" id="{706C6B46-2C3D-4744-AB7C-141867325A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26050" y="3595688"/>
              <a:ext cx="422275" cy="206375"/>
            </a:xfrm>
            <a:custGeom>
              <a:avLst/>
              <a:gdLst>
                <a:gd name="T0" fmla="*/ 266 w 266"/>
                <a:gd name="T1" fmla="*/ 130 h 130"/>
                <a:gd name="T2" fmla="*/ 0 w 266"/>
                <a:gd name="T3" fmla="*/ 130 h 130"/>
                <a:gd name="T4" fmla="*/ 62 w 266"/>
                <a:gd name="T5" fmla="*/ 0 h 130"/>
                <a:gd name="T6" fmla="*/ 204 w 266"/>
                <a:gd name="T7" fmla="*/ 0 h 130"/>
                <a:gd name="T8" fmla="*/ 266 w 266"/>
                <a:gd name="T9" fmla="*/ 130 h 130"/>
                <a:gd name="T10" fmla="*/ 28 w 266"/>
                <a:gd name="T11" fmla="*/ 112 h 130"/>
                <a:gd name="T12" fmla="*/ 238 w 266"/>
                <a:gd name="T13" fmla="*/ 112 h 130"/>
                <a:gd name="T14" fmla="*/ 192 w 266"/>
                <a:gd name="T15" fmla="*/ 18 h 130"/>
                <a:gd name="T16" fmla="*/ 74 w 266"/>
                <a:gd name="T17" fmla="*/ 18 h 130"/>
                <a:gd name="T18" fmla="*/ 28 w 266"/>
                <a:gd name="T19" fmla="*/ 112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130">
                  <a:moveTo>
                    <a:pt x="266" y="130"/>
                  </a:moveTo>
                  <a:lnTo>
                    <a:pt x="0" y="130"/>
                  </a:lnTo>
                  <a:lnTo>
                    <a:pt x="62" y="0"/>
                  </a:lnTo>
                  <a:lnTo>
                    <a:pt x="204" y="0"/>
                  </a:lnTo>
                  <a:lnTo>
                    <a:pt x="266" y="130"/>
                  </a:lnTo>
                  <a:close/>
                  <a:moveTo>
                    <a:pt x="28" y="112"/>
                  </a:moveTo>
                  <a:lnTo>
                    <a:pt x="238" y="112"/>
                  </a:lnTo>
                  <a:lnTo>
                    <a:pt x="192" y="18"/>
                  </a:lnTo>
                  <a:lnTo>
                    <a:pt x="74" y="18"/>
                  </a:lnTo>
                  <a:lnTo>
                    <a:pt x="28" y="1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" name="Freeform 41">
              <a:extLst>
                <a:ext uri="{FF2B5EF4-FFF2-40B4-BE49-F238E27FC236}">
                  <a16:creationId xmlns:a16="http://schemas.microsoft.com/office/drawing/2014/main" id="{C46AC2EC-194D-43CB-92D2-5D7490B102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3875" y="3595688"/>
              <a:ext cx="422275" cy="206375"/>
            </a:xfrm>
            <a:custGeom>
              <a:avLst/>
              <a:gdLst>
                <a:gd name="T0" fmla="*/ 266 w 266"/>
                <a:gd name="T1" fmla="*/ 130 h 130"/>
                <a:gd name="T2" fmla="*/ 0 w 266"/>
                <a:gd name="T3" fmla="*/ 130 h 130"/>
                <a:gd name="T4" fmla="*/ 62 w 266"/>
                <a:gd name="T5" fmla="*/ 0 h 130"/>
                <a:gd name="T6" fmla="*/ 204 w 266"/>
                <a:gd name="T7" fmla="*/ 0 h 130"/>
                <a:gd name="T8" fmla="*/ 266 w 266"/>
                <a:gd name="T9" fmla="*/ 130 h 130"/>
                <a:gd name="T10" fmla="*/ 28 w 266"/>
                <a:gd name="T11" fmla="*/ 112 h 130"/>
                <a:gd name="T12" fmla="*/ 238 w 266"/>
                <a:gd name="T13" fmla="*/ 112 h 130"/>
                <a:gd name="T14" fmla="*/ 192 w 266"/>
                <a:gd name="T15" fmla="*/ 18 h 130"/>
                <a:gd name="T16" fmla="*/ 74 w 266"/>
                <a:gd name="T17" fmla="*/ 18 h 130"/>
                <a:gd name="T18" fmla="*/ 28 w 266"/>
                <a:gd name="T19" fmla="*/ 112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130">
                  <a:moveTo>
                    <a:pt x="266" y="130"/>
                  </a:moveTo>
                  <a:lnTo>
                    <a:pt x="0" y="130"/>
                  </a:lnTo>
                  <a:lnTo>
                    <a:pt x="62" y="0"/>
                  </a:lnTo>
                  <a:lnTo>
                    <a:pt x="204" y="0"/>
                  </a:lnTo>
                  <a:lnTo>
                    <a:pt x="266" y="130"/>
                  </a:lnTo>
                  <a:close/>
                  <a:moveTo>
                    <a:pt x="28" y="112"/>
                  </a:moveTo>
                  <a:lnTo>
                    <a:pt x="238" y="112"/>
                  </a:lnTo>
                  <a:lnTo>
                    <a:pt x="192" y="18"/>
                  </a:lnTo>
                  <a:lnTo>
                    <a:pt x="74" y="18"/>
                  </a:lnTo>
                  <a:lnTo>
                    <a:pt x="28" y="1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" name="Freeform 42">
              <a:extLst>
                <a:ext uri="{FF2B5EF4-FFF2-40B4-BE49-F238E27FC236}">
                  <a16:creationId xmlns:a16="http://schemas.microsoft.com/office/drawing/2014/main" id="{B360A2FF-7A99-4BF7-9718-2C87E22D6E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16550" y="3417888"/>
              <a:ext cx="422275" cy="206375"/>
            </a:xfrm>
            <a:custGeom>
              <a:avLst/>
              <a:gdLst>
                <a:gd name="T0" fmla="*/ 266 w 266"/>
                <a:gd name="T1" fmla="*/ 130 h 130"/>
                <a:gd name="T2" fmla="*/ 0 w 266"/>
                <a:gd name="T3" fmla="*/ 130 h 130"/>
                <a:gd name="T4" fmla="*/ 62 w 266"/>
                <a:gd name="T5" fmla="*/ 0 h 130"/>
                <a:gd name="T6" fmla="*/ 204 w 266"/>
                <a:gd name="T7" fmla="*/ 0 h 130"/>
                <a:gd name="T8" fmla="*/ 266 w 266"/>
                <a:gd name="T9" fmla="*/ 130 h 130"/>
                <a:gd name="T10" fmla="*/ 28 w 266"/>
                <a:gd name="T11" fmla="*/ 112 h 130"/>
                <a:gd name="T12" fmla="*/ 238 w 266"/>
                <a:gd name="T13" fmla="*/ 112 h 130"/>
                <a:gd name="T14" fmla="*/ 192 w 266"/>
                <a:gd name="T15" fmla="*/ 18 h 130"/>
                <a:gd name="T16" fmla="*/ 74 w 266"/>
                <a:gd name="T17" fmla="*/ 18 h 130"/>
                <a:gd name="T18" fmla="*/ 28 w 266"/>
                <a:gd name="T19" fmla="*/ 112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130">
                  <a:moveTo>
                    <a:pt x="266" y="130"/>
                  </a:moveTo>
                  <a:lnTo>
                    <a:pt x="0" y="130"/>
                  </a:lnTo>
                  <a:lnTo>
                    <a:pt x="62" y="0"/>
                  </a:lnTo>
                  <a:lnTo>
                    <a:pt x="204" y="0"/>
                  </a:lnTo>
                  <a:lnTo>
                    <a:pt x="266" y="130"/>
                  </a:lnTo>
                  <a:close/>
                  <a:moveTo>
                    <a:pt x="28" y="112"/>
                  </a:moveTo>
                  <a:lnTo>
                    <a:pt x="238" y="112"/>
                  </a:lnTo>
                  <a:lnTo>
                    <a:pt x="192" y="18"/>
                  </a:lnTo>
                  <a:lnTo>
                    <a:pt x="74" y="18"/>
                  </a:lnTo>
                  <a:lnTo>
                    <a:pt x="28" y="1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" name="Rectangle 43">
              <a:extLst>
                <a:ext uri="{FF2B5EF4-FFF2-40B4-BE49-F238E27FC236}">
                  <a16:creationId xmlns:a16="http://schemas.microsoft.com/office/drawing/2014/main" id="{B0CEB320-2B33-41D2-AD07-5535D763D4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10225" y="3189288"/>
              <a:ext cx="28575" cy="920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" name="Freeform 44">
              <a:extLst>
                <a:ext uri="{FF2B5EF4-FFF2-40B4-BE49-F238E27FC236}">
                  <a16:creationId xmlns:a16="http://schemas.microsoft.com/office/drawing/2014/main" id="{05FA5F35-E358-4341-A25C-036698925F7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5350" y="3481388"/>
              <a:ext cx="95250" cy="60325"/>
            </a:xfrm>
            <a:custGeom>
              <a:avLst/>
              <a:gdLst>
                <a:gd name="T0" fmla="*/ 8 w 60"/>
                <a:gd name="T1" fmla="*/ 38 h 38"/>
                <a:gd name="T2" fmla="*/ 0 w 60"/>
                <a:gd name="T3" fmla="*/ 22 h 38"/>
                <a:gd name="T4" fmla="*/ 54 w 60"/>
                <a:gd name="T5" fmla="*/ 0 h 38"/>
                <a:gd name="T6" fmla="*/ 60 w 60"/>
                <a:gd name="T7" fmla="*/ 16 h 38"/>
                <a:gd name="T8" fmla="*/ 8 w 60"/>
                <a:gd name="T9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38">
                  <a:moveTo>
                    <a:pt x="8" y="38"/>
                  </a:moveTo>
                  <a:lnTo>
                    <a:pt x="0" y="22"/>
                  </a:lnTo>
                  <a:lnTo>
                    <a:pt x="54" y="0"/>
                  </a:lnTo>
                  <a:lnTo>
                    <a:pt x="60" y="16"/>
                  </a:lnTo>
                  <a:lnTo>
                    <a:pt x="8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" name="Freeform 45">
              <a:extLst>
                <a:ext uri="{FF2B5EF4-FFF2-40B4-BE49-F238E27FC236}">
                  <a16:creationId xmlns:a16="http://schemas.microsoft.com/office/drawing/2014/main" id="{BBED995C-CA14-489E-B0C6-F9B7E7988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5650" y="3268663"/>
              <a:ext cx="79375" cy="88900"/>
            </a:xfrm>
            <a:custGeom>
              <a:avLst/>
              <a:gdLst>
                <a:gd name="T0" fmla="*/ 14 w 50"/>
                <a:gd name="T1" fmla="*/ 56 h 56"/>
                <a:gd name="T2" fmla="*/ 0 w 50"/>
                <a:gd name="T3" fmla="*/ 44 h 56"/>
                <a:gd name="T4" fmla="*/ 36 w 50"/>
                <a:gd name="T5" fmla="*/ 0 h 56"/>
                <a:gd name="T6" fmla="*/ 50 w 50"/>
                <a:gd name="T7" fmla="*/ 12 h 56"/>
                <a:gd name="T8" fmla="*/ 14 w 50"/>
                <a:gd name="T9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56">
                  <a:moveTo>
                    <a:pt x="14" y="56"/>
                  </a:moveTo>
                  <a:lnTo>
                    <a:pt x="0" y="44"/>
                  </a:lnTo>
                  <a:lnTo>
                    <a:pt x="36" y="0"/>
                  </a:lnTo>
                  <a:lnTo>
                    <a:pt x="50" y="12"/>
                  </a:lnTo>
                  <a:lnTo>
                    <a:pt x="14" y="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" name="Freeform 46">
              <a:extLst>
                <a:ext uri="{FF2B5EF4-FFF2-40B4-BE49-F238E27FC236}">
                  <a16:creationId xmlns:a16="http://schemas.microsoft.com/office/drawing/2014/main" id="{EF0056E2-9D6C-403F-BADF-F244611D53E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1600" y="3481388"/>
              <a:ext cx="95250" cy="60325"/>
            </a:xfrm>
            <a:custGeom>
              <a:avLst/>
              <a:gdLst>
                <a:gd name="T0" fmla="*/ 54 w 60"/>
                <a:gd name="T1" fmla="*/ 38 h 38"/>
                <a:gd name="T2" fmla="*/ 0 w 60"/>
                <a:gd name="T3" fmla="*/ 16 h 38"/>
                <a:gd name="T4" fmla="*/ 8 w 60"/>
                <a:gd name="T5" fmla="*/ 0 h 38"/>
                <a:gd name="T6" fmla="*/ 60 w 60"/>
                <a:gd name="T7" fmla="*/ 22 h 38"/>
                <a:gd name="T8" fmla="*/ 54 w 60"/>
                <a:gd name="T9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38">
                  <a:moveTo>
                    <a:pt x="54" y="38"/>
                  </a:moveTo>
                  <a:lnTo>
                    <a:pt x="0" y="16"/>
                  </a:lnTo>
                  <a:lnTo>
                    <a:pt x="8" y="0"/>
                  </a:lnTo>
                  <a:lnTo>
                    <a:pt x="60" y="22"/>
                  </a:lnTo>
                  <a:lnTo>
                    <a:pt x="54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" name="Freeform 47">
              <a:extLst>
                <a:ext uri="{FF2B5EF4-FFF2-40B4-BE49-F238E27FC236}">
                  <a16:creationId xmlns:a16="http://schemas.microsoft.com/office/drawing/2014/main" id="{E37AAEF6-3DC6-4403-A22A-19BD4CA41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0350" y="3268663"/>
              <a:ext cx="79375" cy="88900"/>
            </a:xfrm>
            <a:custGeom>
              <a:avLst/>
              <a:gdLst>
                <a:gd name="T0" fmla="*/ 36 w 50"/>
                <a:gd name="T1" fmla="*/ 56 h 56"/>
                <a:gd name="T2" fmla="*/ 0 w 50"/>
                <a:gd name="T3" fmla="*/ 12 h 56"/>
                <a:gd name="T4" fmla="*/ 12 w 50"/>
                <a:gd name="T5" fmla="*/ 0 h 56"/>
                <a:gd name="T6" fmla="*/ 50 w 50"/>
                <a:gd name="T7" fmla="*/ 44 h 56"/>
                <a:gd name="T8" fmla="*/ 36 w 50"/>
                <a:gd name="T9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56">
                  <a:moveTo>
                    <a:pt x="36" y="56"/>
                  </a:moveTo>
                  <a:lnTo>
                    <a:pt x="0" y="12"/>
                  </a:lnTo>
                  <a:lnTo>
                    <a:pt x="12" y="0"/>
                  </a:lnTo>
                  <a:lnTo>
                    <a:pt x="50" y="44"/>
                  </a:lnTo>
                  <a:lnTo>
                    <a:pt x="36" y="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348174CC-871C-4864-B200-6F0AA15F1B39}"/>
              </a:ext>
            </a:extLst>
          </p:cNvPr>
          <p:cNvGrpSpPr/>
          <p:nvPr/>
        </p:nvGrpSpPr>
        <p:grpSpPr>
          <a:xfrm>
            <a:off x="2618928" y="1812755"/>
            <a:ext cx="327287" cy="291712"/>
            <a:chOff x="7031038" y="2970213"/>
            <a:chExt cx="1228725" cy="1216025"/>
          </a:xfrm>
          <a:solidFill>
            <a:schemeClr val="bg1"/>
          </a:solidFill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1397586F-97C1-4160-B914-DBA615810CEF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3438" y="3081338"/>
              <a:ext cx="930275" cy="600075"/>
            </a:xfrm>
            <a:custGeom>
              <a:avLst/>
              <a:gdLst>
                <a:gd name="T0" fmla="*/ 12 w 586"/>
                <a:gd name="T1" fmla="*/ 378 h 378"/>
                <a:gd name="T2" fmla="*/ 0 w 586"/>
                <a:gd name="T3" fmla="*/ 364 h 378"/>
                <a:gd name="T4" fmla="*/ 136 w 586"/>
                <a:gd name="T5" fmla="*/ 228 h 378"/>
                <a:gd name="T6" fmla="*/ 256 w 586"/>
                <a:gd name="T7" fmla="*/ 228 h 378"/>
                <a:gd name="T8" fmla="*/ 372 w 586"/>
                <a:gd name="T9" fmla="*/ 112 h 378"/>
                <a:gd name="T10" fmla="*/ 462 w 586"/>
                <a:gd name="T11" fmla="*/ 112 h 378"/>
                <a:gd name="T12" fmla="*/ 574 w 586"/>
                <a:gd name="T13" fmla="*/ 0 h 378"/>
                <a:gd name="T14" fmla="*/ 586 w 586"/>
                <a:gd name="T15" fmla="*/ 14 h 378"/>
                <a:gd name="T16" fmla="*/ 470 w 586"/>
                <a:gd name="T17" fmla="*/ 130 h 378"/>
                <a:gd name="T18" fmla="*/ 380 w 586"/>
                <a:gd name="T19" fmla="*/ 130 h 378"/>
                <a:gd name="T20" fmla="*/ 264 w 586"/>
                <a:gd name="T21" fmla="*/ 246 h 378"/>
                <a:gd name="T22" fmla="*/ 144 w 586"/>
                <a:gd name="T23" fmla="*/ 246 h 378"/>
                <a:gd name="T24" fmla="*/ 12 w 586"/>
                <a:gd name="T25" fmla="*/ 378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86" h="378">
                  <a:moveTo>
                    <a:pt x="12" y="378"/>
                  </a:moveTo>
                  <a:lnTo>
                    <a:pt x="0" y="364"/>
                  </a:lnTo>
                  <a:lnTo>
                    <a:pt x="136" y="228"/>
                  </a:lnTo>
                  <a:lnTo>
                    <a:pt x="256" y="228"/>
                  </a:lnTo>
                  <a:lnTo>
                    <a:pt x="372" y="112"/>
                  </a:lnTo>
                  <a:lnTo>
                    <a:pt x="462" y="112"/>
                  </a:lnTo>
                  <a:lnTo>
                    <a:pt x="574" y="0"/>
                  </a:lnTo>
                  <a:lnTo>
                    <a:pt x="586" y="14"/>
                  </a:lnTo>
                  <a:lnTo>
                    <a:pt x="470" y="130"/>
                  </a:lnTo>
                  <a:lnTo>
                    <a:pt x="380" y="130"/>
                  </a:lnTo>
                  <a:lnTo>
                    <a:pt x="264" y="246"/>
                  </a:lnTo>
                  <a:lnTo>
                    <a:pt x="144" y="246"/>
                  </a:lnTo>
                  <a:lnTo>
                    <a:pt x="12" y="3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" name="Rectangle 6">
              <a:extLst>
                <a:ext uri="{FF2B5EF4-FFF2-40B4-BE49-F238E27FC236}">
                  <a16:creationId xmlns:a16="http://schemas.microsoft.com/office/drawing/2014/main" id="{973A0E1F-4611-4E09-AC67-DC72924362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16763" y="2970213"/>
              <a:ext cx="28575" cy="121602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" name="Rectangle 7">
              <a:extLst>
                <a:ext uri="{FF2B5EF4-FFF2-40B4-BE49-F238E27FC236}">
                  <a16:creationId xmlns:a16="http://schemas.microsoft.com/office/drawing/2014/main" id="{42FB47FE-4C76-44AA-8972-1FCBA6AB2C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31038" y="4071938"/>
              <a:ext cx="1228725" cy="285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" name="Rectangle 8">
              <a:extLst>
                <a:ext uri="{FF2B5EF4-FFF2-40B4-BE49-F238E27FC236}">
                  <a16:creationId xmlns:a16="http://schemas.microsoft.com/office/drawing/2014/main" id="{58D4A5D8-3BAF-45F1-995B-8AA22CBF34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15188" y="3881438"/>
              <a:ext cx="28575" cy="1555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" name="Rectangle 9">
              <a:extLst>
                <a:ext uri="{FF2B5EF4-FFF2-40B4-BE49-F238E27FC236}">
                  <a16:creationId xmlns:a16="http://schemas.microsoft.com/office/drawing/2014/main" id="{BB4B542F-BB2B-4766-B0E3-B66A4F6E9F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15188" y="4129088"/>
              <a:ext cx="28575" cy="381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" name="Rectangle 10">
              <a:extLst>
                <a:ext uri="{FF2B5EF4-FFF2-40B4-BE49-F238E27FC236}">
                  <a16:creationId xmlns:a16="http://schemas.microsoft.com/office/drawing/2014/main" id="{C90443DE-3511-4DAD-BEC1-07BF182F13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97738" y="4129088"/>
              <a:ext cx="28575" cy="381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3" name="Rectangle 11">
              <a:extLst>
                <a:ext uri="{FF2B5EF4-FFF2-40B4-BE49-F238E27FC236}">
                  <a16:creationId xmlns:a16="http://schemas.microsoft.com/office/drawing/2014/main" id="{03210DF1-2464-4E23-9F2F-DF1F5D48C9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77113" y="4129088"/>
              <a:ext cx="28575" cy="381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4" name="Rectangle 12">
              <a:extLst>
                <a:ext uri="{FF2B5EF4-FFF2-40B4-BE49-F238E27FC236}">
                  <a16:creationId xmlns:a16="http://schemas.microsoft.com/office/drawing/2014/main" id="{B7937032-8AF6-4847-9ED6-871805530E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6488" y="4129088"/>
              <a:ext cx="28575" cy="381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5" name="Rectangle 13">
              <a:extLst>
                <a:ext uri="{FF2B5EF4-FFF2-40B4-BE49-F238E27FC236}">
                  <a16:creationId xmlns:a16="http://schemas.microsoft.com/office/drawing/2014/main" id="{71AB901C-93BF-4BC6-9E77-C6C4A22FC4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39038" y="4129088"/>
              <a:ext cx="28575" cy="381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6" name="Rectangle 14">
              <a:extLst>
                <a:ext uri="{FF2B5EF4-FFF2-40B4-BE49-F238E27FC236}">
                  <a16:creationId xmlns:a16="http://schemas.microsoft.com/office/drawing/2014/main" id="{44382F4F-2B19-4528-B2EE-B4DA126D3E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18413" y="4129088"/>
              <a:ext cx="28575" cy="381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7" name="Rectangle 15">
              <a:extLst>
                <a:ext uri="{FF2B5EF4-FFF2-40B4-BE49-F238E27FC236}">
                  <a16:creationId xmlns:a16="http://schemas.microsoft.com/office/drawing/2014/main" id="{D7188E06-1D71-4892-AF2D-30B0BD3D62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00963" y="4129088"/>
              <a:ext cx="28575" cy="381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8" name="Rectangle 16">
              <a:extLst>
                <a:ext uri="{FF2B5EF4-FFF2-40B4-BE49-F238E27FC236}">
                  <a16:creationId xmlns:a16="http://schemas.microsoft.com/office/drawing/2014/main" id="{0C068C47-FECE-4EB3-8AF7-37AFDD0596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80338" y="4129088"/>
              <a:ext cx="28575" cy="381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9" name="Rectangle 17">
              <a:extLst>
                <a:ext uri="{FF2B5EF4-FFF2-40B4-BE49-F238E27FC236}">
                  <a16:creationId xmlns:a16="http://schemas.microsoft.com/office/drawing/2014/main" id="{450D2848-20C1-47C5-8321-DA62836F7D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62888" y="4129088"/>
              <a:ext cx="28575" cy="381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0" name="Rectangle 18">
              <a:extLst>
                <a:ext uri="{FF2B5EF4-FFF2-40B4-BE49-F238E27FC236}">
                  <a16:creationId xmlns:a16="http://schemas.microsoft.com/office/drawing/2014/main" id="{15E518D0-4983-45C8-9D4E-07FA2BFF32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42263" y="4129088"/>
              <a:ext cx="28575" cy="381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1" name="Rectangle 19">
              <a:extLst>
                <a:ext uri="{FF2B5EF4-FFF2-40B4-BE49-F238E27FC236}">
                  <a16:creationId xmlns:a16="http://schemas.microsoft.com/office/drawing/2014/main" id="{57D9AC19-AFEB-49E7-BAD0-72510A7BF6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24813" y="4129088"/>
              <a:ext cx="28575" cy="381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2" name="Rectangle 20">
              <a:extLst>
                <a:ext uri="{FF2B5EF4-FFF2-40B4-BE49-F238E27FC236}">
                  <a16:creationId xmlns:a16="http://schemas.microsoft.com/office/drawing/2014/main" id="{8E9C20E5-15C1-4564-A7A2-7BDF2D7DA2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04188" y="4129088"/>
              <a:ext cx="28575" cy="381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3" name="Rectangle 21">
              <a:extLst>
                <a:ext uri="{FF2B5EF4-FFF2-40B4-BE49-F238E27FC236}">
                  <a16:creationId xmlns:a16="http://schemas.microsoft.com/office/drawing/2014/main" id="{3E5976E4-BD92-4FE4-BB72-2BEEFDC049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97738" y="3757613"/>
              <a:ext cx="28575" cy="2794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4" name="Rectangle 22">
              <a:extLst>
                <a:ext uri="{FF2B5EF4-FFF2-40B4-BE49-F238E27FC236}">
                  <a16:creationId xmlns:a16="http://schemas.microsoft.com/office/drawing/2014/main" id="{045E4017-C285-4DD0-80CB-2B99239154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77113" y="3557588"/>
              <a:ext cx="28575" cy="47942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5" name="Rectangle 23">
              <a:extLst>
                <a:ext uri="{FF2B5EF4-FFF2-40B4-BE49-F238E27FC236}">
                  <a16:creationId xmlns:a16="http://schemas.microsoft.com/office/drawing/2014/main" id="{6AC90011-70D4-44A8-9F3C-9B055366C8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6488" y="3665538"/>
              <a:ext cx="28575" cy="3714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6" name="Rectangle 24">
              <a:extLst>
                <a:ext uri="{FF2B5EF4-FFF2-40B4-BE49-F238E27FC236}">
                  <a16:creationId xmlns:a16="http://schemas.microsoft.com/office/drawing/2014/main" id="{699399E1-FE31-4466-A879-1B4E7CFC8D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39038" y="3687763"/>
              <a:ext cx="28575" cy="3492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7" name="Rectangle 25">
              <a:extLst>
                <a:ext uri="{FF2B5EF4-FFF2-40B4-BE49-F238E27FC236}">
                  <a16:creationId xmlns:a16="http://schemas.microsoft.com/office/drawing/2014/main" id="{659E5E44-0D7C-453C-948B-4F07D4795B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18413" y="3592513"/>
              <a:ext cx="28575" cy="4445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8" name="Rectangle 26">
              <a:extLst>
                <a:ext uri="{FF2B5EF4-FFF2-40B4-BE49-F238E27FC236}">
                  <a16:creationId xmlns:a16="http://schemas.microsoft.com/office/drawing/2014/main" id="{D210D905-E4E9-4C42-B6F3-163BFEBE69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00963" y="3494088"/>
              <a:ext cx="28575" cy="54292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9" name="Rectangle 27">
              <a:extLst>
                <a:ext uri="{FF2B5EF4-FFF2-40B4-BE49-F238E27FC236}">
                  <a16:creationId xmlns:a16="http://schemas.microsoft.com/office/drawing/2014/main" id="{38116806-01CA-454E-BEC7-A344F8D8F6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80338" y="3697288"/>
              <a:ext cx="28575" cy="33972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0" name="Rectangle 28">
              <a:extLst>
                <a:ext uri="{FF2B5EF4-FFF2-40B4-BE49-F238E27FC236}">
                  <a16:creationId xmlns:a16="http://schemas.microsoft.com/office/drawing/2014/main" id="{B7C84236-7941-4DBD-8353-93CCFE4BB7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62888" y="3646488"/>
              <a:ext cx="28575" cy="39052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1" name="Rectangle 29">
              <a:extLst>
                <a:ext uri="{FF2B5EF4-FFF2-40B4-BE49-F238E27FC236}">
                  <a16:creationId xmlns:a16="http://schemas.microsoft.com/office/drawing/2014/main" id="{36B1905D-ECB9-42AC-A6F9-AEE9C250B8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42263" y="3548063"/>
              <a:ext cx="28575" cy="4889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2" name="Rectangle 30">
              <a:extLst>
                <a:ext uri="{FF2B5EF4-FFF2-40B4-BE49-F238E27FC236}">
                  <a16:creationId xmlns:a16="http://schemas.microsoft.com/office/drawing/2014/main" id="{B4756D46-6044-43F2-9C91-0C83F7C14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24813" y="3471863"/>
              <a:ext cx="28575" cy="5651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3" name="Rectangle 31">
              <a:extLst>
                <a:ext uri="{FF2B5EF4-FFF2-40B4-BE49-F238E27FC236}">
                  <a16:creationId xmlns:a16="http://schemas.microsoft.com/office/drawing/2014/main" id="{F27C53ED-DDE3-4828-873A-00BDEA87C4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04188" y="3376613"/>
              <a:ext cx="28575" cy="6604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4" name="Freeform 32">
              <a:extLst>
                <a:ext uri="{FF2B5EF4-FFF2-40B4-BE49-F238E27FC236}">
                  <a16:creationId xmlns:a16="http://schemas.microsoft.com/office/drawing/2014/main" id="{E4590DB5-52F5-4550-945B-F7CB56F11A4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24813" y="3065463"/>
              <a:ext cx="104775" cy="104775"/>
            </a:xfrm>
            <a:custGeom>
              <a:avLst/>
              <a:gdLst>
                <a:gd name="T0" fmla="*/ 66 w 66"/>
                <a:gd name="T1" fmla="*/ 66 h 66"/>
                <a:gd name="T2" fmla="*/ 48 w 66"/>
                <a:gd name="T3" fmla="*/ 66 h 66"/>
                <a:gd name="T4" fmla="*/ 48 w 66"/>
                <a:gd name="T5" fmla="*/ 18 h 66"/>
                <a:gd name="T6" fmla="*/ 0 w 66"/>
                <a:gd name="T7" fmla="*/ 18 h 66"/>
                <a:gd name="T8" fmla="*/ 0 w 66"/>
                <a:gd name="T9" fmla="*/ 0 h 66"/>
                <a:gd name="T10" fmla="*/ 66 w 66"/>
                <a:gd name="T11" fmla="*/ 0 h 66"/>
                <a:gd name="T12" fmla="*/ 66 w 66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6">
                  <a:moveTo>
                    <a:pt x="66" y="66"/>
                  </a:moveTo>
                  <a:lnTo>
                    <a:pt x="48" y="66"/>
                  </a:lnTo>
                  <a:lnTo>
                    <a:pt x="48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5" name="Freeform 33">
              <a:extLst>
                <a:ext uri="{FF2B5EF4-FFF2-40B4-BE49-F238E27FC236}">
                  <a16:creationId xmlns:a16="http://schemas.microsoft.com/office/drawing/2014/main" id="{276A0BDB-BFB8-415B-84DB-A47373473A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3438" y="3081338"/>
              <a:ext cx="930275" cy="600075"/>
            </a:xfrm>
            <a:custGeom>
              <a:avLst/>
              <a:gdLst>
                <a:gd name="T0" fmla="*/ 12 w 586"/>
                <a:gd name="T1" fmla="*/ 378 h 378"/>
                <a:gd name="T2" fmla="*/ 0 w 586"/>
                <a:gd name="T3" fmla="*/ 364 h 378"/>
                <a:gd name="T4" fmla="*/ 136 w 586"/>
                <a:gd name="T5" fmla="*/ 228 h 378"/>
                <a:gd name="T6" fmla="*/ 256 w 586"/>
                <a:gd name="T7" fmla="*/ 228 h 378"/>
                <a:gd name="T8" fmla="*/ 372 w 586"/>
                <a:gd name="T9" fmla="*/ 112 h 378"/>
                <a:gd name="T10" fmla="*/ 462 w 586"/>
                <a:gd name="T11" fmla="*/ 112 h 378"/>
                <a:gd name="T12" fmla="*/ 574 w 586"/>
                <a:gd name="T13" fmla="*/ 0 h 378"/>
                <a:gd name="T14" fmla="*/ 586 w 586"/>
                <a:gd name="T15" fmla="*/ 14 h 378"/>
                <a:gd name="T16" fmla="*/ 470 w 586"/>
                <a:gd name="T17" fmla="*/ 130 h 378"/>
                <a:gd name="T18" fmla="*/ 380 w 586"/>
                <a:gd name="T19" fmla="*/ 130 h 378"/>
                <a:gd name="T20" fmla="*/ 264 w 586"/>
                <a:gd name="T21" fmla="*/ 246 h 378"/>
                <a:gd name="T22" fmla="*/ 144 w 586"/>
                <a:gd name="T23" fmla="*/ 246 h 378"/>
                <a:gd name="T24" fmla="*/ 12 w 586"/>
                <a:gd name="T25" fmla="*/ 378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86" h="378">
                  <a:moveTo>
                    <a:pt x="12" y="378"/>
                  </a:moveTo>
                  <a:lnTo>
                    <a:pt x="0" y="364"/>
                  </a:lnTo>
                  <a:lnTo>
                    <a:pt x="136" y="228"/>
                  </a:lnTo>
                  <a:lnTo>
                    <a:pt x="256" y="228"/>
                  </a:lnTo>
                  <a:lnTo>
                    <a:pt x="372" y="112"/>
                  </a:lnTo>
                  <a:lnTo>
                    <a:pt x="462" y="112"/>
                  </a:lnTo>
                  <a:lnTo>
                    <a:pt x="574" y="0"/>
                  </a:lnTo>
                  <a:lnTo>
                    <a:pt x="586" y="14"/>
                  </a:lnTo>
                  <a:lnTo>
                    <a:pt x="470" y="130"/>
                  </a:lnTo>
                  <a:lnTo>
                    <a:pt x="380" y="130"/>
                  </a:lnTo>
                  <a:lnTo>
                    <a:pt x="264" y="246"/>
                  </a:lnTo>
                  <a:lnTo>
                    <a:pt x="144" y="246"/>
                  </a:lnTo>
                  <a:lnTo>
                    <a:pt x="12" y="3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6" name="Rectangle 34">
              <a:extLst>
                <a:ext uri="{FF2B5EF4-FFF2-40B4-BE49-F238E27FC236}">
                  <a16:creationId xmlns:a16="http://schemas.microsoft.com/office/drawing/2014/main" id="{2BE5AD78-0055-46E5-8634-3AB65E4F39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16763" y="2970213"/>
              <a:ext cx="28575" cy="121602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7" name="Rectangle 35">
              <a:extLst>
                <a:ext uri="{FF2B5EF4-FFF2-40B4-BE49-F238E27FC236}">
                  <a16:creationId xmlns:a16="http://schemas.microsoft.com/office/drawing/2014/main" id="{DBE92BDF-F25F-491E-9085-9FEB7D0926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31038" y="4071938"/>
              <a:ext cx="1228725" cy="285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8" name="Rectangle 36">
              <a:extLst>
                <a:ext uri="{FF2B5EF4-FFF2-40B4-BE49-F238E27FC236}">
                  <a16:creationId xmlns:a16="http://schemas.microsoft.com/office/drawing/2014/main" id="{775A8028-C8DE-4BD7-9562-6F50B4C947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15188" y="3881438"/>
              <a:ext cx="28575" cy="1555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9" name="Rectangle 37">
              <a:extLst>
                <a:ext uri="{FF2B5EF4-FFF2-40B4-BE49-F238E27FC236}">
                  <a16:creationId xmlns:a16="http://schemas.microsoft.com/office/drawing/2014/main" id="{35DB0A6E-3818-4FB9-8534-E09597712B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15188" y="4129088"/>
              <a:ext cx="28575" cy="381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0" name="Rectangle 38">
              <a:extLst>
                <a:ext uri="{FF2B5EF4-FFF2-40B4-BE49-F238E27FC236}">
                  <a16:creationId xmlns:a16="http://schemas.microsoft.com/office/drawing/2014/main" id="{3C5EDA6F-3C00-404C-8A8F-5088CBA8FC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97738" y="4129088"/>
              <a:ext cx="28575" cy="381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1" name="Rectangle 39">
              <a:extLst>
                <a:ext uri="{FF2B5EF4-FFF2-40B4-BE49-F238E27FC236}">
                  <a16:creationId xmlns:a16="http://schemas.microsoft.com/office/drawing/2014/main" id="{895F3E88-5339-437E-8BA9-EA7713BE8A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77113" y="4129088"/>
              <a:ext cx="28575" cy="381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2" name="Rectangle 40">
              <a:extLst>
                <a:ext uri="{FF2B5EF4-FFF2-40B4-BE49-F238E27FC236}">
                  <a16:creationId xmlns:a16="http://schemas.microsoft.com/office/drawing/2014/main" id="{60AA80B7-BFD1-44BF-BEDF-7EDB013EB5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6488" y="4129088"/>
              <a:ext cx="28575" cy="381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3" name="Rectangle 41">
              <a:extLst>
                <a:ext uri="{FF2B5EF4-FFF2-40B4-BE49-F238E27FC236}">
                  <a16:creationId xmlns:a16="http://schemas.microsoft.com/office/drawing/2014/main" id="{C96AA7CA-6116-4627-82ED-0EBD39F152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39038" y="4129088"/>
              <a:ext cx="28575" cy="381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4" name="Rectangle 42">
              <a:extLst>
                <a:ext uri="{FF2B5EF4-FFF2-40B4-BE49-F238E27FC236}">
                  <a16:creationId xmlns:a16="http://schemas.microsoft.com/office/drawing/2014/main" id="{74F3C2C2-DC99-4B35-B9C2-531F8CFC03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18413" y="4129088"/>
              <a:ext cx="28575" cy="381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5" name="Rectangle 43">
              <a:extLst>
                <a:ext uri="{FF2B5EF4-FFF2-40B4-BE49-F238E27FC236}">
                  <a16:creationId xmlns:a16="http://schemas.microsoft.com/office/drawing/2014/main" id="{4CDB8160-FDAD-4EEA-9B35-722B60F57E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00963" y="4129088"/>
              <a:ext cx="28575" cy="381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6" name="Rectangle 44">
              <a:extLst>
                <a:ext uri="{FF2B5EF4-FFF2-40B4-BE49-F238E27FC236}">
                  <a16:creationId xmlns:a16="http://schemas.microsoft.com/office/drawing/2014/main" id="{1F09FE49-D39D-4300-8417-CD77CAC57E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80338" y="4129088"/>
              <a:ext cx="28575" cy="381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7" name="Rectangle 45">
              <a:extLst>
                <a:ext uri="{FF2B5EF4-FFF2-40B4-BE49-F238E27FC236}">
                  <a16:creationId xmlns:a16="http://schemas.microsoft.com/office/drawing/2014/main" id="{FEF8243D-D04D-4DEB-9F16-4C98B2806E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62888" y="4129088"/>
              <a:ext cx="28575" cy="381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8" name="Rectangle 46">
              <a:extLst>
                <a:ext uri="{FF2B5EF4-FFF2-40B4-BE49-F238E27FC236}">
                  <a16:creationId xmlns:a16="http://schemas.microsoft.com/office/drawing/2014/main" id="{A707B36E-5728-4210-848E-55E785902F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42263" y="4129088"/>
              <a:ext cx="28575" cy="381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9" name="Rectangle 47">
              <a:extLst>
                <a:ext uri="{FF2B5EF4-FFF2-40B4-BE49-F238E27FC236}">
                  <a16:creationId xmlns:a16="http://schemas.microsoft.com/office/drawing/2014/main" id="{E1E4B8F2-D263-437A-B172-4FACDED9C3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24813" y="4129088"/>
              <a:ext cx="28575" cy="381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0" name="Rectangle 48">
              <a:extLst>
                <a:ext uri="{FF2B5EF4-FFF2-40B4-BE49-F238E27FC236}">
                  <a16:creationId xmlns:a16="http://schemas.microsoft.com/office/drawing/2014/main" id="{05F253D9-23A7-4A93-869D-BEE415E736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04188" y="4129088"/>
              <a:ext cx="28575" cy="381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1" name="Rectangle 49">
              <a:extLst>
                <a:ext uri="{FF2B5EF4-FFF2-40B4-BE49-F238E27FC236}">
                  <a16:creationId xmlns:a16="http://schemas.microsoft.com/office/drawing/2014/main" id="{EC1878B1-7090-48E9-B8D0-04FDA7E492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97738" y="3757613"/>
              <a:ext cx="28575" cy="2794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2" name="Rectangle 50">
              <a:extLst>
                <a:ext uri="{FF2B5EF4-FFF2-40B4-BE49-F238E27FC236}">
                  <a16:creationId xmlns:a16="http://schemas.microsoft.com/office/drawing/2014/main" id="{04E4DE58-D7D5-428A-8CA3-33AD306FA5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77113" y="3557588"/>
              <a:ext cx="28575" cy="47942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3" name="Rectangle 51">
              <a:extLst>
                <a:ext uri="{FF2B5EF4-FFF2-40B4-BE49-F238E27FC236}">
                  <a16:creationId xmlns:a16="http://schemas.microsoft.com/office/drawing/2014/main" id="{DD605A96-60AA-47AE-90B2-6E995639CB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6488" y="3665538"/>
              <a:ext cx="28575" cy="3714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4" name="Rectangle 52">
              <a:extLst>
                <a:ext uri="{FF2B5EF4-FFF2-40B4-BE49-F238E27FC236}">
                  <a16:creationId xmlns:a16="http://schemas.microsoft.com/office/drawing/2014/main" id="{64637EED-4996-434C-8442-4A5E0CD259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39038" y="3687763"/>
              <a:ext cx="28575" cy="3492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5" name="Rectangle 53">
              <a:extLst>
                <a:ext uri="{FF2B5EF4-FFF2-40B4-BE49-F238E27FC236}">
                  <a16:creationId xmlns:a16="http://schemas.microsoft.com/office/drawing/2014/main" id="{469F69D9-AAEB-453F-A269-2BFB7B6113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18413" y="3592513"/>
              <a:ext cx="28575" cy="4445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6" name="Rectangle 54">
              <a:extLst>
                <a:ext uri="{FF2B5EF4-FFF2-40B4-BE49-F238E27FC236}">
                  <a16:creationId xmlns:a16="http://schemas.microsoft.com/office/drawing/2014/main" id="{EB436606-821E-4798-AFE4-5DAAE6EEF1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00963" y="3494088"/>
              <a:ext cx="28575" cy="54292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7" name="Rectangle 55">
              <a:extLst>
                <a:ext uri="{FF2B5EF4-FFF2-40B4-BE49-F238E27FC236}">
                  <a16:creationId xmlns:a16="http://schemas.microsoft.com/office/drawing/2014/main" id="{EE58F0BE-757F-4DCF-9C19-295B4BECF5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80338" y="3697288"/>
              <a:ext cx="28575" cy="33972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8" name="Rectangle 56">
              <a:extLst>
                <a:ext uri="{FF2B5EF4-FFF2-40B4-BE49-F238E27FC236}">
                  <a16:creationId xmlns:a16="http://schemas.microsoft.com/office/drawing/2014/main" id="{67292F4C-19FC-4725-8803-1B6016D421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62888" y="3646488"/>
              <a:ext cx="28575" cy="39052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9" name="Rectangle 57">
              <a:extLst>
                <a:ext uri="{FF2B5EF4-FFF2-40B4-BE49-F238E27FC236}">
                  <a16:creationId xmlns:a16="http://schemas.microsoft.com/office/drawing/2014/main" id="{0680EF64-BA37-4C7B-8A8A-7900760A8B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42263" y="3548063"/>
              <a:ext cx="28575" cy="4889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0" name="Rectangle 58">
              <a:extLst>
                <a:ext uri="{FF2B5EF4-FFF2-40B4-BE49-F238E27FC236}">
                  <a16:creationId xmlns:a16="http://schemas.microsoft.com/office/drawing/2014/main" id="{64E05260-EEEE-4619-914D-B63D5FE8C6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24813" y="3471863"/>
              <a:ext cx="28575" cy="5651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1" name="Rectangle 59">
              <a:extLst>
                <a:ext uri="{FF2B5EF4-FFF2-40B4-BE49-F238E27FC236}">
                  <a16:creationId xmlns:a16="http://schemas.microsoft.com/office/drawing/2014/main" id="{D17DDA5A-7FD4-4379-A69A-4BE7902384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04188" y="3376613"/>
              <a:ext cx="28575" cy="6604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2" name="Freeform 60">
              <a:extLst>
                <a:ext uri="{FF2B5EF4-FFF2-40B4-BE49-F238E27FC236}">
                  <a16:creationId xmlns:a16="http://schemas.microsoft.com/office/drawing/2014/main" id="{94A350B7-C086-4D2B-9968-15206A9FF0A1}"/>
                </a:ext>
              </a:extLst>
            </p:cNvPr>
            <p:cNvSpPr>
              <a:spLocks/>
            </p:cNvSpPr>
            <p:nvPr/>
          </p:nvSpPr>
          <p:spPr bwMode="auto">
            <a:xfrm>
              <a:off x="8024813" y="3065463"/>
              <a:ext cx="104775" cy="104775"/>
            </a:xfrm>
            <a:custGeom>
              <a:avLst/>
              <a:gdLst>
                <a:gd name="T0" fmla="*/ 66 w 66"/>
                <a:gd name="T1" fmla="*/ 66 h 66"/>
                <a:gd name="T2" fmla="*/ 48 w 66"/>
                <a:gd name="T3" fmla="*/ 66 h 66"/>
                <a:gd name="T4" fmla="*/ 48 w 66"/>
                <a:gd name="T5" fmla="*/ 18 h 66"/>
                <a:gd name="T6" fmla="*/ 0 w 66"/>
                <a:gd name="T7" fmla="*/ 18 h 66"/>
                <a:gd name="T8" fmla="*/ 0 w 66"/>
                <a:gd name="T9" fmla="*/ 0 h 66"/>
                <a:gd name="T10" fmla="*/ 66 w 66"/>
                <a:gd name="T11" fmla="*/ 0 h 66"/>
                <a:gd name="T12" fmla="*/ 66 w 66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6">
                  <a:moveTo>
                    <a:pt x="66" y="66"/>
                  </a:moveTo>
                  <a:lnTo>
                    <a:pt x="48" y="66"/>
                  </a:lnTo>
                  <a:lnTo>
                    <a:pt x="48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83" name="Group 42">
            <a:extLst>
              <a:ext uri="{FF2B5EF4-FFF2-40B4-BE49-F238E27FC236}">
                <a16:creationId xmlns:a16="http://schemas.microsoft.com/office/drawing/2014/main" id="{A5F9EB22-0394-47A2-9770-66C6D8E8F7B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543450" y="1819820"/>
            <a:ext cx="447425" cy="288541"/>
            <a:chOff x="3049" y="909"/>
            <a:chExt cx="980" cy="632"/>
          </a:xfrm>
          <a:solidFill>
            <a:schemeClr val="bg1"/>
          </a:solidFill>
        </p:grpSpPr>
        <p:sp>
          <p:nvSpPr>
            <p:cNvPr id="84" name="Rectangle 43">
              <a:extLst>
                <a:ext uri="{FF2B5EF4-FFF2-40B4-BE49-F238E27FC236}">
                  <a16:creationId xmlns:a16="http://schemas.microsoft.com/office/drawing/2014/main" id="{ECA7319B-C285-4F49-BA0B-4708029468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89" y="957"/>
              <a:ext cx="18" cy="6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Rectangle 44">
              <a:extLst>
                <a:ext uri="{FF2B5EF4-FFF2-40B4-BE49-F238E27FC236}">
                  <a16:creationId xmlns:a16="http://schemas.microsoft.com/office/drawing/2014/main" id="{9FAB8A0E-B93C-41F2-BFB5-C5A3B6EC61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89" y="1031"/>
              <a:ext cx="18" cy="2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Rectangle 45">
              <a:extLst>
                <a:ext uri="{FF2B5EF4-FFF2-40B4-BE49-F238E27FC236}">
                  <a16:creationId xmlns:a16="http://schemas.microsoft.com/office/drawing/2014/main" id="{64DDF968-44AE-4AFE-9F8A-0EC3D492C9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55" y="909"/>
              <a:ext cx="18" cy="6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Rectangle 46">
              <a:extLst>
                <a:ext uri="{FF2B5EF4-FFF2-40B4-BE49-F238E27FC236}">
                  <a16:creationId xmlns:a16="http://schemas.microsoft.com/office/drawing/2014/main" id="{3CFA6CD5-4935-4E19-BEC5-390BEE662A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55" y="983"/>
              <a:ext cx="18" cy="2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Rectangle 47">
              <a:extLst>
                <a:ext uri="{FF2B5EF4-FFF2-40B4-BE49-F238E27FC236}">
                  <a16:creationId xmlns:a16="http://schemas.microsoft.com/office/drawing/2014/main" id="{6ACF9B8F-944A-4B0A-9F4A-AE377B8F9F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9" y="969"/>
              <a:ext cx="18" cy="6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Rectangle 48">
              <a:extLst>
                <a:ext uri="{FF2B5EF4-FFF2-40B4-BE49-F238E27FC236}">
                  <a16:creationId xmlns:a16="http://schemas.microsoft.com/office/drawing/2014/main" id="{EBFA2153-CCFA-4500-99EC-C08B285246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9" y="1043"/>
              <a:ext cx="18" cy="2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49">
              <a:extLst>
                <a:ext uri="{FF2B5EF4-FFF2-40B4-BE49-F238E27FC236}">
                  <a16:creationId xmlns:a16="http://schemas.microsoft.com/office/drawing/2014/main" id="{CE2E5964-A10E-4C29-A05F-BBD3EDE433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5" y="1229"/>
              <a:ext cx="88" cy="154"/>
            </a:xfrm>
            <a:custGeom>
              <a:avLst/>
              <a:gdLst>
                <a:gd name="T0" fmla="*/ 26 w 88"/>
                <a:gd name="T1" fmla="*/ 154 h 154"/>
                <a:gd name="T2" fmla="*/ 16 w 88"/>
                <a:gd name="T3" fmla="*/ 152 h 154"/>
                <a:gd name="T4" fmla="*/ 2 w 88"/>
                <a:gd name="T5" fmla="*/ 138 h 154"/>
                <a:gd name="T6" fmla="*/ 0 w 88"/>
                <a:gd name="T7" fmla="*/ 110 h 154"/>
                <a:gd name="T8" fmla="*/ 18 w 88"/>
                <a:gd name="T9" fmla="*/ 128 h 154"/>
                <a:gd name="T10" fmla="*/ 20 w 88"/>
                <a:gd name="T11" fmla="*/ 132 h 154"/>
                <a:gd name="T12" fmla="*/ 24 w 88"/>
                <a:gd name="T13" fmla="*/ 136 h 154"/>
                <a:gd name="T14" fmla="*/ 62 w 88"/>
                <a:gd name="T15" fmla="*/ 136 h 154"/>
                <a:gd name="T16" fmla="*/ 64 w 88"/>
                <a:gd name="T17" fmla="*/ 136 h 154"/>
                <a:gd name="T18" fmla="*/ 68 w 88"/>
                <a:gd name="T19" fmla="*/ 132 h 154"/>
                <a:gd name="T20" fmla="*/ 70 w 88"/>
                <a:gd name="T21" fmla="*/ 94 h 154"/>
                <a:gd name="T22" fmla="*/ 68 w 88"/>
                <a:gd name="T23" fmla="*/ 90 h 154"/>
                <a:gd name="T24" fmla="*/ 64 w 88"/>
                <a:gd name="T25" fmla="*/ 86 h 154"/>
                <a:gd name="T26" fmla="*/ 26 w 88"/>
                <a:gd name="T27" fmla="*/ 86 h 154"/>
                <a:gd name="T28" fmla="*/ 16 w 88"/>
                <a:gd name="T29" fmla="*/ 84 h 154"/>
                <a:gd name="T30" fmla="*/ 2 w 88"/>
                <a:gd name="T31" fmla="*/ 70 h 154"/>
                <a:gd name="T32" fmla="*/ 0 w 88"/>
                <a:gd name="T33" fmla="*/ 26 h 154"/>
                <a:gd name="T34" fmla="*/ 2 w 88"/>
                <a:gd name="T35" fmla="*/ 16 h 154"/>
                <a:gd name="T36" fmla="*/ 16 w 88"/>
                <a:gd name="T37" fmla="*/ 2 h 154"/>
                <a:gd name="T38" fmla="*/ 62 w 88"/>
                <a:gd name="T39" fmla="*/ 0 h 154"/>
                <a:gd name="T40" fmla="*/ 72 w 88"/>
                <a:gd name="T41" fmla="*/ 2 h 154"/>
                <a:gd name="T42" fmla="*/ 84 w 88"/>
                <a:gd name="T43" fmla="*/ 16 h 154"/>
                <a:gd name="T44" fmla="*/ 88 w 88"/>
                <a:gd name="T45" fmla="*/ 42 h 154"/>
                <a:gd name="T46" fmla="*/ 70 w 88"/>
                <a:gd name="T47" fmla="*/ 26 h 154"/>
                <a:gd name="T48" fmla="*/ 68 w 88"/>
                <a:gd name="T49" fmla="*/ 22 h 154"/>
                <a:gd name="T50" fmla="*/ 64 w 88"/>
                <a:gd name="T51" fmla="*/ 18 h 154"/>
                <a:gd name="T52" fmla="*/ 26 w 88"/>
                <a:gd name="T53" fmla="*/ 18 h 154"/>
                <a:gd name="T54" fmla="*/ 24 w 88"/>
                <a:gd name="T55" fmla="*/ 18 h 154"/>
                <a:gd name="T56" fmla="*/ 20 w 88"/>
                <a:gd name="T57" fmla="*/ 22 h 154"/>
                <a:gd name="T58" fmla="*/ 18 w 88"/>
                <a:gd name="T59" fmla="*/ 60 h 154"/>
                <a:gd name="T60" fmla="*/ 20 w 88"/>
                <a:gd name="T61" fmla="*/ 62 h 154"/>
                <a:gd name="T62" fmla="*/ 24 w 88"/>
                <a:gd name="T63" fmla="*/ 68 h 154"/>
                <a:gd name="T64" fmla="*/ 62 w 88"/>
                <a:gd name="T65" fmla="*/ 68 h 154"/>
                <a:gd name="T66" fmla="*/ 72 w 88"/>
                <a:gd name="T67" fmla="*/ 70 h 154"/>
                <a:gd name="T68" fmla="*/ 84 w 88"/>
                <a:gd name="T69" fmla="*/ 84 h 154"/>
                <a:gd name="T70" fmla="*/ 88 w 88"/>
                <a:gd name="T71" fmla="*/ 128 h 154"/>
                <a:gd name="T72" fmla="*/ 84 w 88"/>
                <a:gd name="T73" fmla="*/ 138 h 154"/>
                <a:gd name="T74" fmla="*/ 72 w 88"/>
                <a:gd name="T75" fmla="*/ 152 h 154"/>
                <a:gd name="T76" fmla="*/ 62 w 88"/>
                <a:gd name="T77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8" h="154">
                  <a:moveTo>
                    <a:pt x="62" y="154"/>
                  </a:moveTo>
                  <a:lnTo>
                    <a:pt x="26" y="154"/>
                  </a:lnTo>
                  <a:lnTo>
                    <a:pt x="26" y="154"/>
                  </a:lnTo>
                  <a:lnTo>
                    <a:pt x="16" y="152"/>
                  </a:lnTo>
                  <a:lnTo>
                    <a:pt x="8" y="146"/>
                  </a:lnTo>
                  <a:lnTo>
                    <a:pt x="2" y="138"/>
                  </a:lnTo>
                  <a:lnTo>
                    <a:pt x="0" y="128"/>
                  </a:lnTo>
                  <a:lnTo>
                    <a:pt x="0" y="110"/>
                  </a:lnTo>
                  <a:lnTo>
                    <a:pt x="18" y="110"/>
                  </a:lnTo>
                  <a:lnTo>
                    <a:pt x="18" y="128"/>
                  </a:lnTo>
                  <a:lnTo>
                    <a:pt x="18" y="128"/>
                  </a:lnTo>
                  <a:lnTo>
                    <a:pt x="20" y="132"/>
                  </a:lnTo>
                  <a:lnTo>
                    <a:pt x="20" y="134"/>
                  </a:lnTo>
                  <a:lnTo>
                    <a:pt x="24" y="136"/>
                  </a:lnTo>
                  <a:lnTo>
                    <a:pt x="26" y="136"/>
                  </a:lnTo>
                  <a:lnTo>
                    <a:pt x="62" y="136"/>
                  </a:lnTo>
                  <a:lnTo>
                    <a:pt x="62" y="136"/>
                  </a:lnTo>
                  <a:lnTo>
                    <a:pt x="64" y="136"/>
                  </a:lnTo>
                  <a:lnTo>
                    <a:pt x="66" y="134"/>
                  </a:lnTo>
                  <a:lnTo>
                    <a:pt x="68" y="132"/>
                  </a:lnTo>
                  <a:lnTo>
                    <a:pt x="70" y="128"/>
                  </a:lnTo>
                  <a:lnTo>
                    <a:pt x="70" y="94"/>
                  </a:lnTo>
                  <a:lnTo>
                    <a:pt x="70" y="94"/>
                  </a:lnTo>
                  <a:lnTo>
                    <a:pt x="68" y="90"/>
                  </a:lnTo>
                  <a:lnTo>
                    <a:pt x="66" y="88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26" y="86"/>
                  </a:lnTo>
                  <a:lnTo>
                    <a:pt x="26" y="86"/>
                  </a:lnTo>
                  <a:lnTo>
                    <a:pt x="16" y="84"/>
                  </a:lnTo>
                  <a:lnTo>
                    <a:pt x="8" y="78"/>
                  </a:lnTo>
                  <a:lnTo>
                    <a:pt x="2" y="70"/>
                  </a:lnTo>
                  <a:lnTo>
                    <a:pt x="0" y="60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6"/>
                  </a:lnTo>
                  <a:lnTo>
                    <a:pt x="16" y="2"/>
                  </a:lnTo>
                  <a:lnTo>
                    <a:pt x="26" y="0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72" y="2"/>
                  </a:lnTo>
                  <a:lnTo>
                    <a:pt x="80" y="6"/>
                  </a:lnTo>
                  <a:lnTo>
                    <a:pt x="84" y="16"/>
                  </a:lnTo>
                  <a:lnTo>
                    <a:pt x="88" y="26"/>
                  </a:lnTo>
                  <a:lnTo>
                    <a:pt x="88" y="42"/>
                  </a:lnTo>
                  <a:lnTo>
                    <a:pt x="70" y="42"/>
                  </a:lnTo>
                  <a:lnTo>
                    <a:pt x="70" y="26"/>
                  </a:lnTo>
                  <a:lnTo>
                    <a:pt x="70" y="26"/>
                  </a:lnTo>
                  <a:lnTo>
                    <a:pt x="68" y="22"/>
                  </a:lnTo>
                  <a:lnTo>
                    <a:pt x="66" y="20"/>
                  </a:lnTo>
                  <a:lnTo>
                    <a:pt x="64" y="18"/>
                  </a:lnTo>
                  <a:lnTo>
                    <a:pt x="62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4" y="18"/>
                  </a:lnTo>
                  <a:lnTo>
                    <a:pt x="20" y="20"/>
                  </a:lnTo>
                  <a:lnTo>
                    <a:pt x="20" y="22"/>
                  </a:lnTo>
                  <a:lnTo>
                    <a:pt x="18" y="26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20" y="62"/>
                  </a:lnTo>
                  <a:lnTo>
                    <a:pt x="20" y="66"/>
                  </a:lnTo>
                  <a:lnTo>
                    <a:pt x="24" y="68"/>
                  </a:lnTo>
                  <a:lnTo>
                    <a:pt x="26" y="68"/>
                  </a:lnTo>
                  <a:lnTo>
                    <a:pt x="62" y="68"/>
                  </a:lnTo>
                  <a:lnTo>
                    <a:pt x="62" y="68"/>
                  </a:lnTo>
                  <a:lnTo>
                    <a:pt x="72" y="70"/>
                  </a:lnTo>
                  <a:lnTo>
                    <a:pt x="80" y="76"/>
                  </a:lnTo>
                  <a:lnTo>
                    <a:pt x="84" y="84"/>
                  </a:lnTo>
                  <a:lnTo>
                    <a:pt x="88" y="94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4" y="138"/>
                  </a:lnTo>
                  <a:lnTo>
                    <a:pt x="80" y="146"/>
                  </a:lnTo>
                  <a:lnTo>
                    <a:pt x="72" y="152"/>
                  </a:lnTo>
                  <a:lnTo>
                    <a:pt x="62" y="154"/>
                  </a:lnTo>
                  <a:lnTo>
                    <a:pt x="62" y="1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Rectangle 50">
              <a:extLst>
                <a:ext uri="{FF2B5EF4-FFF2-40B4-BE49-F238E27FC236}">
                  <a16:creationId xmlns:a16="http://schemas.microsoft.com/office/drawing/2014/main" id="{5B8940E2-CAD9-4EE6-9425-0816E0F3BA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9" y="1219"/>
              <a:ext cx="18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Rectangle 51">
              <a:extLst>
                <a:ext uri="{FF2B5EF4-FFF2-40B4-BE49-F238E27FC236}">
                  <a16:creationId xmlns:a16="http://schemas.microsoft.com/office/drawing/2014/main" id="{F84CEA1E-C2C8-4F1C-98C3-804D15823E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9" y="1373"/>
              <a:ext cx="18" cy="2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Rectangle 52">
              <a:extLst>
                <a:ext uri="{FF2B5EF4-FFF2-40B4-BE49-F238E27FC236}">
                  <a16:creationId xmlns:a16="http://schemas.microsoft.com/office/drawing/2014/main" id="{92F39DB7-10B2-4493-AF4F-D836159C3A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49" y="1301"/>
              <a:ext cx="22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Rectangle 53">
              <a:extLst>
                <a:ext uri="{FF2B5EF4-FFF2-40B4-BE49-F238E27FC236}">
                  <a16:creationId xmlns:a16="http://schemas.microsoft.com/office/drawing/2014/main" id="{888830B3-DD65-4756-9AB8-A6F3EA3454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1" y="1301"/>
              <a:ext cx="22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54">
              <a:extLst>
                <a:ext uri="{FF2B5EF4-FFF2-40B4-BE49-F238E27FC236}">
                  <a16:creationId xmlns:a16="http://schemas.microsoft.com/office/drawing/2014/main" id="{6BEA5D50-EBB3-4F49-ABB4-7DB57C0467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49" y="1019"/>
              <a:ext cx="174" cy="60"/>
            </a:xfrm>
            <a:custGeom>
              <a:avLst/>
              <a:gdLst>
                <a:gd name="T0" fmla="*/ 144 w 174"/>
                <a:gd name="T1" fmla="*/ 60 h 60"/>
                <a:gd name="T2" fmla="*/ 30 w 174"/>
                <a:gd name="T3" fmla="*/ 60 h 60"/>
                <a:gd name="T4" fmla="*/ 30 w 174"/>
                <a:gd name="T5" fmla="*/ 60 h 60"/>
                <a:gd name="T6" fmla="*/ 24 w 174"/>
                <a:gd name="T7" fmla="*/ 60 h 60"/>
                <a:gd name="T8" fmla="*/ 18 w 174"/>
                <a:gd name="T9" fmla="*/ 58 h 60"/>
                <a:gd name="T10" fmla="*/ 10 w 174"/>
                <a:gd name="T11" fmla="*/ 52 h 60"/>
                <a:gd name="T12" fmla="*/ 2 w 174"/>
                <a:gd name="T13" fmla="*/ 42 h 60"/>
                <a:gd name="T14" fmla="*/ 0 w 174"/>
                <a:gd name="T15" fmla="*/ 36 h 60"/>
                <a:gd name="T16" fmla="*/ 0 w 174"/>
                <a:gd name="T17" fmla="*/ 30 h 60"/>
                <a:gd name="T18" fmla="*/ 0 w 174"/>
                <a:gd name="T19" fmla="*/ 30 h 60"/>
                <a:gd name="T20" fmla="*/ 0 w 174"/>
                <a:gd name="T21" fmla="*/ 24 h 60"/>
                <a:gd name="T22" fmla="*/ 2 w 174"/>
                <a:gd name="T23" fmla="*/ 18 h 60"/>
                <a:gd name="T24" fmla="*/ 10 w 174"/>
                <a:gd name="T25" fmla="*/ 8 h 60"/>
                <a:gd name="T26" fmla="*/ 18 w 174"/>
                <a:gd name="T27" fmla="*/ 2 h 60"/>
                <a:gd name="T28" fmla="*/ 24 w 174"/>
                <a:gd name="T29" fmla="*/ 0 h 60"/>
                <a:gd name="T30" fmla="*/ 30 w 174"/>
                <a:gd name="T31" fmla="*/ 0 h 60"/>
                <a:gd name="T32" fmla="*/ 144 w 174"/>
                <a:gd name="T33" fmla="*/ 0 h 60"/>
                <a:gd name="T34" fmla="*/ 144 w 174"/>
                <a:gd name="T35" fmla="*/ 0 h 60"/>
                <a:gd name="T36" fmla="*/ 150 w 174"/>
                <a:gd name="T37" fmla="*/ 0 h 60"/>
                <a:gd name="T38" fmla="*/ 156 w 174"/>
                <a:gd name="T39" fmla="*/ 2 h 60"/>
                <a:gd name="T40" fmla="*/ 166 w 174"/>
                <a:gd name="T41" fmla="*/ 8 h 60"/>
                <a:gd name="T42" fmla="*/ 172 w 174"/>
                <a:gd name="T43" fmla="*/ 18 h 60"/>
                <a:gd name="T44" fmla="*/ 174 w 174"/>
                <a:gd name="T45" fmla="*/ 24 h 60"/>
                <a:gd name="T46" fmla="*/ 174 w 174"/>
                <a:gd name="T47" fmla="*/ 30 h 60"/>
                <a:gd name="T48" fmla="*/ 174 w 174"/>
                <a:gd name="T49" fmla="*/ 30 h 60"/>
                <a:gd name="T50" fmla="*/ 174 w 174"/>
                <a:gd name="T51" fmla="*/ 36 h 60"/>
                <a:gd name="T52" fmla="*/ 172 w 174"/>
                <a:gd name="T53" fmla="*/ 42 h 60"/>
                <a:gd name="T54" fmla="*/ 166 w 174"/>
                <a:gd name="T55" fmla="*/ 52 h 60"/>
                <a:gd name="T56" fmla="*/ 156 w 174"/>
                <a:gd name="T57" fmla="*/ 58 h 60"/>
                <a:gd name="T58" fmla="*/ 150 w 174"/>
                <a:gd name="T59" fmla="*/ 60 h 60"/>
                <a:gd name="T60" fmla="*/ 144 w 174"/>
                <a:gd name="T61" fmla="*/ 60 h 60"/>
                <a:gd name="T62" fmla="*/ 144 w 174"/>
                <a:gd name="T63" fmla="*/ 60 h 60"/>
                <a:gd name="T64" fmla="*/ 30 w 174"/>
                <a:gd name="T65" fmla="*/ 18 h 60"/>
                <a:gd name="T66" fmla="*/ 30 w 174"/>
                <a:gd name="T67" fmla="*/ 18 h 60"/>
                <a:gd name="T68" fmla="*/ 26 w 174"/>
                <a:gd name="T69" fmla="*/ 18 h 60"/>
                <a:gd name="T70" fmla="*/ 22 w 174"/>
                <a:gd name="T71" fmla="*/ 22 h 60"/>
                <a:gd name="T72" fmla="*/ 20 w 174"/>
                <a:gd name="T73" fmla="*/ 26 h 60"/>
                <a:gd name="T74" fmla="*/ 18 w 174"/>
                <a:gd name="T75" fmla="*/ 30 h 60"/>
                <a:gd name="T76" fmla="*/ 18 w 174"/>
                <a:gd name="T77" fmla="*/ 30 h 60"/>
                <a:gd name="T78" fmla="*/ 20 w 174"/>
                <a:gd name="T79" fmla="*/ 36 h 60"/>
                <a:gd name="T80" fmla="*/ 22 w 174"/>
                <a:gd name="T81" fmla="*/ 40 h 60"/>
                <a:gd name="T82" fmla="*/ 26 w 174"/>
                <a:gd name="T83" fmla="*/ 42 h 60"/>
                <a:gd name="T84" fmla="*/ 30 w 174"/>
                <a:gd name="T85" fmla="*/ 42 h 60"/>
                <a:gd name="T86" fmla="*/ 144 w 174"/>
                <a:gd name="T87" fmla="*/ 42 h 60"/>
                <a:gd name="T88" fmla="*/ 144 w 174"/>
                <a:gd name="T89" fmla="*/ 42 h 60"/>
                <a:gd name="T90" fmla="*/ 150 w 174"/>
                <a:gd name="T91" fmla="*/ 42 h 60"/>
                <a:gd name="T92" fmla="*/ 154 w 174"/>
                <a:gd name="T93" fmla="*/ 40 h 60"/>
                <a:gd name="T94" fmla="*/ 156 w 174"/>
                <a:gd name="T95" fmla="*/ 36 h 60"/>
                <a:gd name="T96" fmla="*/ 156 w 174"/>
                <a:gd name="T97" fmla="*/ 30 h 60"/>
                <a:gd name="T98" fmla="*/ 156 w 174"/>
                <a:gd name="T99" fmla="*/ 30 h 60"/>
                <a:gd name="T100" fmla="*/ 156 w 174"/>
                <a:gd name="T101" fmla="*/ 26 h 60"/>
                <a:gd name="T102" fmla="*/ 154 w 174"/>
                <a:gd name="T103" fmla="*/ 22 h 60"/>
                <a:gd name="T104" fmla="*/ 150 w 174"/>
                <a:gd name="T105" fmla="*/ 18 h 60"/>
                <a:gd name="T106" fmla="*/ 144 w 174"/>
                <a:gd name="T107" fmla="*/ 18 h 60"/>
                <a:gd name="T108" fmla="*/ 30 w 174"/>
                <a:gd name="T109" fmla="*/ 1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4" h="60">
                  <a:moveTo>
                    <a:pt x="144" y="60"/>
                  </a:moveTo>
                  <a:lnTo>
                    <a:pt x="30" y="60"/>
                  </a:lnTo>
                  <a:lnTo>
                    <a:pt x="30" y="60"/>
                  </a:lnTo>
                  <a:lnTo>
                    <a:pt x="24" y="60"/>
                  </a:lnTo>
                  <a:lnTo>
                    <a:pt x="18" y="58"/>
                  </a:lnTo>
                  <a:lnTo>
                    <a:pt x="10" y="52"/>
                  </a:lnTo>
                  <a:lnTo>
                    <a:pt x="2" y="42"/>
                  </a:lnTo>
                  <a:lnTo>
                    <a:pt x="0" y="36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2" y="18"/>
                  </a:lnTo>
                  <a:lnTo>
                    <a:pt x="10" y="8"/>
                  </a:lnTo>
                  <a:lnTo>
                    <a:pt x="18" y="2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144" y="0"/>
                  </a:lnTo>
                  <a:lnTo>
                    <a:pt x="144" y="0"/>
                  </a:lnTo>
                  <a:lnTo>
                    <a:pt x="150" y="0"/>
                  </a:lnTo>
                  <a:lnTo>
                    <a:pt x="156" y="2"/>
                  </a:lnTo>
                  <a:lnTo>
                    <a:pt x="166" y="8"/>
                  </a:lnTo>
                  <a:lnTo>
                    <a:pt x="172" y="18"/>
                  </a:lnTo>
                  <a:lnTo>
                    <a:pt x="174" y="24"/>
                  </a:lnTo>
                  <a:lnTo>
                    <a:pt x="174" y="30"/>
                  </a:lnTo>
                  <a:lnTo>
                    <a:pt x="174" y="30"/>
                  </a:lnTo>
                  <a:lnTo>
                    <a:pt x="174" y="36"/>
                  </a:lnTo>
                  <a:lnTo>
                    <a:pt x="172" y="42"/>
                  </a:lnTo>
                  <a:lnTo>
                    <a:pt x="166" y="52"/>
                  </a:lnTo>
                  <a:lnTo>
                    <a:pt x="156" y="58"/>
                  </a:lnTo>
                  <a:lnTo>
                    <a:pt x="150" y="60"/>
                  </a:lnTo>
                  <a:lnTo>
                    <a:pt x="144" y="60"/>
                  </a:lnTo>
                  <a:lnTo>
                    <a:pt x="144" y="60"/>
                  </a:lnTo>
                  <a:close/>
                  <a:moveTo>
                    <a:pt x="30" y="18"/>
                  </a:moveTo>
                  <a:lnTo>
                    <a:pt x="30" y="18"/>
                  </a:lnTo>
                  <a:lnTo>
                    <a:pt x="26" y="18"/>
                  </a:lnTo>
                  <a:lnTo>
                    <a:pt x="22" y="22"/>
                  </a:lnTo>
                  <a:lnTo>
                    <a:pt x="20" y="26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20" y="36"/>
                  </a:lnTo>
                  <a:lnTo>
                    <a:pt x="22" y="40"/>
                  </a:lnTo>
                  <a:lnTo>
                    <a:pt x="26" y="42"/>
                  </a:lnTo>
                  <a:lnTo>
                    <a:pt x="30" y="42"/>
                  </a:lnTo>
                  <a:lnTo>
                    <a:pt x="144" y="42"/>
                  </a:lnTo>
                  <a:lnTo>
                    <a:pt x="144" y="42"/>
                  </a:lnTo>
                  <a:lnTo>
                    <a:pt x="150" y="42"/>
                  </a:lnTo>
                  <a:lnTo>
                    <a:pt x="154" y="40"/>
                  </a:lnTo>
                  <a:lnTo>
                    <a:pt x="156" y="36"/>
                  </a:lnTo>
                  <a:lnTo>
                    <a:pt x="156" y="30"/>
                  </a:lnTo>
                  <a:lnTo>
                    <a:pt x="156" y="30"/>
                  </a:lnTo>
                  <a:lnTo>
                    <a:pt x="156" y="26"/>
                  </a:lnTo>
                  <a:lnTo>
                    <a:pt x="154" y="2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30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55">
              <a:extLst>
                <a:ext uri="{FF2B5EF4-FFF2-40B4-BE49-F238E27FC236}">
                  <a16:creationId xmlns:a16="http://schemas.microsoft.com/office/drawing/2014/main" id="{81BE23DE-3951-47CA-8FB4-81113A1AA3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45" y="909"/>
              <a:ext cx="184" cy="128"/>
            </a:xfrm>
            <a:custGeom>
              <a:avLst/>
              <a:gdLst>
                <a:gd name="T0" fmla="*/ 138 w 184"/>
                <a:gd name="T1" fmla="*/ 128 h 128"/>
                <a:gd name="T2" fmla="*/ 46 w 184"/>
                <a:gd name="T3" fmla="*/ 128 h 128"/>
                <a:gd name="T4" fmla="*/ 4 w 184"/>
                <a:gd name="T5" fmla="*/ 52 h 128"/>
                <a:gd name="T6" fmla="*/ 4 w 184"/>
                <a:gd name="T7" fmla="*/ 52 h 128"/>
                <a:gd name="T8" fmla="*/ 0 w 184"/>
                <a:gd name="T9" fmla="*/ 44 h 128"/>
                <a:gd name="T10" fmla="*/ 0 w 184"/>
                <a:gd name="T11" fmla="*/ 34 h 128"/>
                <a:gd name="T12" fmla="*/ 0 w 184"/>
                <a:gd name="T13" fmla="*/ 26 h 128"/>
                <a:gd name="T14" fmla="*/ 4 w 184"/>
                <a:gd name="T15" fmla="*/ 16 h 128"/>
                <a:gd name="T16" fmla="*/ 4 w 184"/>
                <a:gd name="T17" fmla="*/ 16 h 128"/>
                <a:gd name="T18" fmla="*/ 10 w 184"/>
                <a:gd name="T19" fmla="*/ 10 h 128"/>
                <a:gd name="T20" fmla="*/ 16 w 184"/>
                <a:gd name="T21" fmla="*/ 4 h 128"/>
                <a:gd name="T22" fmla="*/ 26 w 184"/>
                <a:gd name="T23" fmla="*/ 0 h 128"/>
                <a:gd name="T24" fmla="*/ 34 w 184"/>
                <a:gd name="T25" fmla="*/ 0 h 128"/>
                <a:gd name="T26" fmla="*/ 148 w 184"/>
                <a:gd name="T27" fmla="*/ 0 h 128"/>
                <a:gd name="T28" fmla="*/ 148 w 184"/>
                <a:gd name="T29" fmla="*/ 0 h 128"/>
                <a:gd name="T30" fmla="*/ 158 w 184"/>
                <a:gd name="T31" fmla="*/ 0 h 128"/>
                <a:gd name="T32" fmla="*/ 166 w 184"/>
                <a:gd name="T33" fmla="*/ 4 h 128"/>
                <a:gd name="T34" fmla="*/ 174 w 184"/>
                <a:gd name="T35" fmla="*/ 10 h 128"/>
                <a:gd name="T36" fmla="*/ 178 w 184"/>
                <a:gd name="T37" fmla="*/ 16 h 128"/>
                <a:gd name="T38" fmla="*/ 178 w 184"/>
                <a:gd name="T39" fmla="*/ 16 h 128"/>
                <a:gd name="T40" fmla="*/ 182 w 184"/>
                <a:gd name="T41" fmla="*/ 26 h 128"/>
                <a:gd name="T42" fmla="*/ 184 w 184"/>
                <a:gd name="T43" fmla="*/ 34 h 128"/>
                <a:gd name="T44" fmla="*/ 182 w 184"/>
                <a:gd name="T45" fmla="*/ 44 h 128"/>
                <a:gd name="T46" fmla="*/ 180 w 184"/>
                <a:gd name="T47" fmla="*/ 52 h 128"/>
                <a:gd name="T48" fmla="*/ 138 w 184"/>
                <a:gd name="T49" fmla="*/ 128 h 128"/>
                <a:gd name="T50" fmla="*/ 56 w 184"/>
                <a:gd name="T51" fmla="*/ 110 h 128"/>
                <a:gd name="T52" fmla="*/ 128 w 184"/>
                <a:gd name="T53" fmla="*/ 110 h 128"/>
                <a:gd name="T54" fmla="*/ 164 w 184"/>
                <a:gd name="T55" fmla="*/ 44 h 128"/>
                <a:gd name="T56" fmla="*/ 164 w 184"/>
                <a:gd name="T57" fmla="*/ 44 h 128"/>
                <a:gd name="T58" fmla="*/ 166 w 184"/>
                <a:gd name="T59" fmla="*/ 34 h 128"/>
                <a:gd name="T60" fmla="*/ 164 w 184"/>
                <a:gd name="T61" fmla="*/ 26 h 128"/>
                <a:gd name="T62" fmla="*/ 164 w 184"/>
                <a:gd name="T63" fmla="*/ 26 h 128"/>
                <a:gd name="T64" fmla="*/ 158 w 184"/>
                <a:gd name="T65" fmla="*/ 20 h 128"/>
                <a:gd name="T66" fmla="*/ 148 w 184"/>
                <a:gd name="T67" fmla="*/ 18 h 128"/>
                <a:gd name="T68" fmla="*/ 34 w 184"/>
                <a:gd name="T69" fmla="*/ 18 h 128"/>
                <a:gd name="T70" fmla="*/ 34 w 184"/>
                <a:gd name="T71" fmla="*/ 18 h 128"/>
                <a:gd name="T72" fmla="*/ 26 w 184"/>
                <a:gd name="T73" fmla="*/ 20 h 128"/>
                <a:gd name="T74" fmla="*/ 20 w 184"/>
                <a:gd name="T75" fmla="*/ 26 h 128"/>
                <a:gd name="T76" fmla="*/ 20 w 184"/>
                <a:gd name="T77" fmla="*/ 26 h 128"/>
                <a:gd name="T78" fmla="*/ 18 w 184"/>
                <a:gd name="T79" fmla="*/ 34 h 128"/>
                <a:gd name="T80" fmla="*/ 20 w 184"/>
                <a:gd name="T81" fmla="*/ 44 h 128"/>
                <a:gd name="T82" fmla="*/ 56 w 184"/>
                <a:gd name="T83" fmla="*/ 11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84" h="128">
                  <a:moveTo>
                    <a:pt x="138" y="128"/>
                  </a:moveTo>
                  <a:lnTo>
                    <a:pt x="46" y="128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0" y="44"/>
                  </a:lnTo>
                  <a:lnTo>
                    <a:pt x="0" y="34"/>
                  </a:lnTo>
                  <a:lnTo>
                    <a:pt x="0" y="2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10" y="10"/>
                  </a:lnTo>
                  <a:lnTo>
                    <a:pt x="16" y="4"/>
                  </a:lnTo>
                  <a:lnTo>
                    <a:pt x="26" y="0"/>
                  </a:lnTo>
                  <a:lnTo>
                    <a:pt x="34" y="0"/>
                  </a:lnTo>
                  <a:lnTo>
                    <a:pt x="148" y="0"/>
                  </a:lnTo>
                  <a:lnTo>
                    <a:pt x="148" y="0"/>
                  </a:lnTo>
                  <a:lnTo>
                    <a:pt x="158" y="0"/>
                  </a:lnTo>
                  <a:lnTo>
                    <a:pt x="166" y="4"/>
                  </a:lnTo>
                  <a:lnTo>
                    <a:pt x="174" y="10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82" y="26"/>
                  </a:lnTo>
                  <a:lnTo>
                    <a:pt x="184" y="34"/>
                  </a:lnTo>
                  <a:lnTo>
                    <a:pt x="182" y="44"/>
                  </a:lnTo>
                  <a:lnTo>
                    <a:pt x="180" y="52"/>
                  </a:lnTo>
                  <a:lnTo>
                    <a:pt x="138" y="128"/>
                  </a:lnTo>
                  <a:close/>
                  <a:moveTo>
                    <a:pt x="56" y="110"/>
                  </a:moveTo>
                  <a:lnTo>
                    <a:pt x="128" y="110"/>
                  </a:lnTo>
                  <a:lnTo>
                    <a:pt x="164" y="44"/>
                  </a:lnTo>
                  <a:lnTo>
                    <a:pt x="164" y="44"/>
                  </a:lnTo>
                  <a:lnTo>
                    <a:pt x="166" y="34"/>
                  </a:lnTo>
                  <a:lnTo>
                    <a:pt x="164" y="26"/>
                  </a:lnTo>
                  <a:lnTo>
                    <a:pt x="164" y="26"/>
                  </a:lnTo>
                  <a:lnTo>
                    <a:pt x="158" y="20"/>
                  </a:lnTo>
                  <a:lnTo>
                    <a:pt x="148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26" y="20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18" y="34"/>
                  </a:lnTo>
                  <a:lnTo>
                    <a:pt x="20" y="44"/>
                  </a:lnTo>
                  <a:lnTo>
                    <a:pt x="56" y="1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Rectangle 56">
              <a:extLst>
                <a:ext uri="{FF2B5EF4-FFF2-40B4-BE49-F238E27FC236}">
                  <a16:creationId xmlns:a16="http://schemas.microsoft.com/office/drawing/2014/main" id="{C708E0C0-0C83-4123-A2E0-9DDCEDA336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9" y="953"/>
              <a:ext cx="14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Rectangle 57">
              <a:extLst>
                <a:ext uri="{FF2B5EF4-FFF2-40B4-BE49-F238E27FC236}">
                  <a16:creationId xmlns:a16="http://schemas.microsoft.com/office/drawing/2014/main" id="{DF0944F5-C4DD-4191-BA29-31786F894F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9" y="953"/>
              <a:ext cx="16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Rectangle 58">
              <a:extLst>
                <a:ext uri="{FF2B5EF4-FFF2-40B4-BE49-F238E27FC236}">
                  <a16:creationId xmlns:a16="http://schemas.microsoft.com/office/drawing/2014/main" id="{8A084486-C338-465F-8721-978A91B3F7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99" y="953"/>
              <a:ext cx="16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59">
              <a:extLst>
                <a:ext uri="{FF2B5EF4-FFF2-40B4-BE49-F238E27FC236}">
                  <a16:creationId xmlns:a16="http://schemas.microsoft.com/office/drawing/2014/main" id="{867AFD6D-2E6B-4F93-A673-CB580DC445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85" y="1095"/>
              <a:ext cx="144" cy="62"/>
            </a:xfrm>
            <a:custGeom>
              <a:avLst/>
              <a:gdLst>
                <a:gd name="T0" fmla="*/ 144 w 144"/>
                <a:gd name="T1" fmla="*/ 62 h 62"/>
                <a:gd name="T2" fmla="*/ 0 w 144"/>
                <a:gd name="T3" fmla="*/ 62 h 62"/>
                <a:gd name="T4" fmla="*/ 0 w 144"/>
                <a:gd name="T5" fmla="*/ 0 h 62"/>
                <a:gd name="T6" fmla="*/ 144 w 144"/>
                <a:gd name="T7" fmla="*/ 0 h 62"/>
                <a:gd name="T8" fmla="*/ 144 w 144"/>
                <a:gd name="T9" fmla="*/ 62 h 62"/>
                <a:gd name="T10" fmla="*/ 18 w 144"/>
                <a:gd name="T11" fmla="*/ 44 h 62"/>
                <a:gd name="T12" fmla="*/ 126 w 144"/>
                <a:gd name="T13" fmla="*/ 44 h 62"/>
                <a:gd name="T14" fmla="*/ 126 w 144"/>
                <a:gd name="T15" fmla="*/ 18 h 62"/>
                <a:gd name="T16" fmla="*/ 18 w 144"/>
                <a:gd name="T17" fmla="*/ 18 h 62"/>
                <a:gd name="T18" fmla="*/ 18 w 144"/>
                <a:gd name="T19" fmla="*/ 4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4" h="62">
                  <a:moveTo>
                    <a:pt x="144" y="62"/>
                  </a:moveTo>
                  <a:lnTo>
                    <a:pt x="0" y="62"/>
                  </a:lnTo>
                  <a:lnTo>
                    <a:pt x="0" y="0"/>
                  </a:lnTo>
                  <a:lnTo>
                    <a:pt x="144" y="0"/>
                  </a:lnTo>
                  <a:lnTo>
                    <a:pt x="144" y="62"/>
                  </a:lnTo>
                  <a:close/>
                  <a:moveTo>
                    <a:pt x="18" y="44"/>
                  </a:moveTo>
                  <a:lnTo>
                    <a:pt x="126" y="44"/>
                  </a:lnTo>
                  <a:lnTo>
                    <a:pt x="126" y="18"/>
                  </a:lnTo>
                  <a:lnTo>
                    <a:pt x="18" y="18"/>
                  </a:lnTo>
                  <a:lnTo>
                    <a:pt x="18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60">
              <a:extLst>
                <a:ext uri="{FF2B5EF4-FFF2-40B4-BE49-F238E27FC236}">
                  <a16:creationId xmlns:a16="http://schemas.microsoft.com/office/drawing/2014/main" id="{9D67C62F-7E95-4494-890D-8E25657A8A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9" y="1307"/>
              <a:ext cx="144" cy="216"/>
            </a:xfrm>
            <a:custGeom>
              <a:avLst/>
              <a:gdLst>
                <a:gd name="T0" fmla="*/ 144 w 144"/>
                <a:gd name="T1" fmla="*/ 216 h 216"/>
                <a:gd name="T2" fmla="*/ 0 w 144"/>
                <a:gd name="T3" fmla="*/ 216 h 216"/>
                <a:gd name="T4" fmla="*/ 0 w 144"/>
                <a:gd name="T5" fmla="*/ 0 h 216"/>
                <a:gd name="T6" fmla="*/ 144 w 144"/>
                <a:gd name="T7" fmla="*/ 0 h 216"/>
                <a:gd name="T8" fmla="*/ 144 w 144"/>
                <a:gd name="T9" fmla="*/ 216 h 216"/>
                <a:gd name="T10" fmla="*/ 18 w 144"/>
                <a:gd name="T11" fmla="*/ 198 h 216"/>
                <a:gd name="T12" fmla="*/ 126 w 144"/>
                <a:gd name="T13" fmla="*/ 198 h 216"/>
                <a:gd name="T14" fmla="*/ 126 w 144"/>
                <a:gd name="T15" fmla="*/ 18 h 216"/>
                <a:gd name="T16" fmla="*/ 18 w 144"/>
                <a:gd name="T17" fmla="*/ 18 h 216"/>
                <a:gd name="T18" fmla="*/ 18 w 144"/>
                <a:gd name="T19" fmla="*/ 198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4" h="216">
                  <a:moveTo>
                    <a:pt x="144" y="216"/>
                  </a:moveTo>
                  <a:lnTo>
                    <a:pt x="0" y="216"/>
                  </a:lnTo>
                  <a:lnTo>
                    <a:pt x="0" y="0"/>
                  </a:lnTo>
                  <a:lnTo>
                    <a:pt x="144" y="0"/>
                  </a:lnTo>
                  <a:lnTo>
                    <a:pt x="144" y="216"/>
                  </a:lnTo>
                  <a:close/>
                  <a:moveTo>
                    <a:pt x="18" y="198"/>
                  </a:moveTo>
                  <a:lnTo>
                    <a:pt x="126" y="198"/>
                  </a:lnTo>
                  <a:lnTo>
                    <a:pt x="126" y="18"/>
                  </a:lnTo>
                  <a:lnTo>
                    <a:pt x="18" y="18"/>
                  </a:lnTo>
                  <a:lnTo>
                    <a:pt x="18" y="1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61">
              <a:extLst>
                <a:ext uri="{FF2B5EF4-FFF2-40B4-BE49-F238E27FC236}">
                  <a16:creationId xmlns:a16="http://schemas.microsoft.com/office/drawing/2014/main" id="{695968BD-B643-46CD-9415-3BF4BD0025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9" y="1185"/>
              <a:ext cx="270" cy="338"/>
            </a:xfrm>
            <a:custGeom>
              <a:avLst/>
              <a:gdLst>
                <a:gd name="T0" fmla="*/ 270 w 270"/>
                <a:gd name="T1" fmla="*/ 338 h 338"/>
                <a:gd name="T2" fmla="*/ 126 w 270"/>
                <a:gd name="T3" fmla="*/ 338 h 338"/>
                <a:gd name="T4" fmla="*/ 126 w 270"/>
                <a:gd name="T5" fmla="*/ 300 h 338"/>
                <a:gd name="T6" fmla="*/ 0 w 270"/>
                <a:gd name="T7" fmla="*/ 300 h 338"/>
                <a:gd name="T8" fmla="*/ 0 w 270"/>
                <a:gd name="T9" fmla="*/ 242 h 338"/>
                <a:gd name="T10" fmla="*/ 126 w 270"/>
                <a:gd name="T11" fmla="*/ 242 h 338"/>
                <a:gd name="T12" fmla="*/ 126 w 270"/>
                <a:gd name="T13" fmla="*/ 220 h 338"/>
                <a:gd name="T14" fmla="*/ 0 w 270"/>
                <a:gd name="T15" fmla="*/ 220 h 338"/>
                <a:gd name="T16" fmla="*/ 0 w 270"/>
                <a:gd name="T17" fmla="*/ 162 h 338"/>
                <a:gd name="T18" fmla="*/ 126 w 270"/>
                <a:gd name="T19" fmla="*/ 162 h 338"/>
                <a:gd name="T20" fmla="*/ 126 w 270"/>
                <a:gd name="T21" fmla="*/ 0 h 338"/>
                <a:gd name="T22" fmla="*/ 270 w 270"/>
                <a:gd name="T23" fmla="*/ 0 h 338"/>
                <a:gd name="T24" fmla="*/ 270 w 270"/>
                <a:gd name="T25" fmla="*/ 110 h 338"/>
                <a:gd name="T26" fmla="*/ 252 w 270"/>
                <a:gd name="T27" fmla="*/ 98 h 338"/>
                <a:gd name="T28" fmla="*/ 144 w 270"/>
                <a:gd name="T29" fmla="*/ 98 h 338"/>
                <a:gd name="T30" fmla="*/ 144 w 270"/>
                <a:gd name="T31" fmla="*/ 122 h 338"/>
                <a:gd name="T32" fmla="*/ 268 w 270"/>
                <a:gd name="T33" fmla="*/ 122 h 338"/>
                <a:gd name="T34" fmla="*/ 268 w 270"/>
                <a:gd name="T35" fmla="*/ 180 h 338"/>
                <a:gd name="T36" fmla="*/ 144 w 270"/>
                <a:gd name="T37" fmla="*/ 180 h 338"/>
                <a:gd name="T38" fmla="*/ 144 w 270"/>
                <a:gd name="T39" fmla="*/ 202 h 338"/>
                <a:gd name="T40" fmla="*/ 268 w 270"/>
                <a:gd name="T41" fmla="*/ 202 h 338"/>
                <a:gd name="T42" fmla="*/ 270 w 270"/>
                <a:gd name="T43" fmla="*/ 260 h 338"/>
                <a:gd name="T44" fmla="*/ 144 w 270"/>
                <a:gd name="T45" fmla="*/ 260 h 338"/>
                <a:gd name="T46" fmla="*/ 144 w 270"/>
                <a:gd name="T47" fmla="*/ 282 h 338"/>
                <a:gd name="T48" fmla="*/ 270 w 270"/>
                <a:gd name="T49" fmla="*/ 282 h 338"/>
                <a:gd name="T50" fmla="*/ 270 w 270"/>
                <a:gd name="T51" fmla="*/ 338 h 338"/>
                <a:gd name="T52" fmla="*/ 144 w 270"/>
                <a:gd name="T53" fmla="*/ 320 h 338"/>
                <a:gd name="T54" fmla="*/ 252 w 270"/>
                <a:gd name="T55" fmla="*/ 320 h 338"/>
                <a:gd name="T56" fmla="*/ 252 w 270"/>
                <a:gd name="T57" fmla="*/ 300 h 338"/>
                <a:gd name="T58" fmla="*/ 144 w 270"/>
                <a:gd name="T59" fmla="*/ 300 h 338"/>
                <a:gd name="T60" fmla="*/ 144 w 270"/>
                <a:gd name="T61" fmla="*/ 320 h 338"/>
                <a:gd name="T62" fmla="*/ 18 w 270"/>
                <a:gd name="T63" fmla="*/ 282 h 338"/>
                <a:gd name="T64" fmla="*/ 126 w 270"/>
                <a:gd name="T65" fmla="*/ 282 h 338"/>
                <a:gd name="T66" fmla="*/ 126 w 270"/>
                <a:gd name="T67" fmla="*/ 260 h 338"/>
                <a:gd name="T68" fmla="*/ 18 w 270"/>
                <a:gd name="T69" fmla="*/ 260 h 338"/>
                <a:gd name="T70" fmla="*/ 18 w 270"/>
                <a:gd name="T71" fmla="*/ 282 h 338"/>
                <a:gd name="T72" fmla="*/ 144 w 270"/>
                <a:gd name="T73" fmla="*/ 242 h 338"/>
                <a:gd name="T74" fmla="*/ 252 w 270"/>
                <a:gd name="T75" fmla="*/ 242 h 338"/>
                <a:gd name="T76" fmla="*/ 250 w 270"/>
                <a:gd name="T77" fmla="*/ 220 h 338"/>
                <a:gd name="T78" fmla="*/ 144 w 270"/>
                <a:gd name="T79" fmla="*/ 220 h 338"/>
                <a:gd name="T80" fmla="*/ 144 w 270"/>
                <a:gd name="T81" fmla="*/ 242 h 338"/>
                <a:gd name="T82" fmla="*/ 18 w 270"/>
                <a:gd name="T83" fmla="*/ 202 h 338"/>
                <a:gd name="T84" fmla="*/ 126 w 270"/>
                <a:gd name="T85" fmla="*/ 202 h 338"/>
                <a:gd name="T86" fmla="*/ 126 w 270"/>
                <a:gd name="T87" fmla="*/ 180 h 338"/>
                <a:gd name="T88" fmla="*/ 18 w 270"/>
                <a:gd name="T89" fmla="*/ 180 h 338"/>
                <a:gd name="T90" fmla="*/ 18 w 270"/>
                <a:gd name="T91" fmla="*/ 202 h 338"/>
                <a:gd name="T92" fmla="*/ 144 w 270"/>
                <a:gd name="T93" fmla="*/ 162 h 338"/>
                <a:gd name="T94" fmla="*/ 250 w 270"/>
                <a:gd name="T95" fmla="*/ 162 h 338"/>
                <a:gd name="T96" fmla="*/ 250 w 270"/>
                <a:gd name="T97" fmla="*/ 140 h 338"/>
                <a:gd name="T98" fmla="*/ 144 w 270"/>
                <a:gd name="T99" fmla="*/ 140 h 338"/>
                <a:gd name="T100" fmla="*/ 144 w 270"/>
                <a:gd name="T101" fmla="*/ 162 h 338"/>
                <a:gd name="T102" fmla="*/ 144 w 270"/>
                <a:gd name="T103" fmla="*/ 80 h 338"/>
                <a:gd name="T104" fmla="*/ 252 w 270"/>
                <a:gd name="T105" fmla="*/ 80 h 338"/>
                <a:gd name="T106" fmla="*/ 252 w 270"/>
                <a:gd name="T107" fmla="*/ 58 h 338"/>
                <a:gd name="T108" fmla="*/ 144 w 270"/>
                <a:gd name="T109" fmla="*/ 58 h 338"/>
                <a:gd name="T110" fmla="*/ 144 w 270"/>
                <a:gd name="T111" fmla="*/ 80 h 338"/>
                <a:gd name="T112" fmla="*/ 144 w 270"/>
                <a:gd name="T113" fmla="*/ 40 h 338"/>
                <a:gd name="T114" fmla="*/ 252 w 270"/>
                <a:gd name="T115" fmla="*/ 40 h 338"/>
                <a:gd name="T116" fmla="*/ 252 w 270"/>
                <a:gd name="T117" fmla="*/ 18 h 338"/>
                <a:gd name="T118" fmla="*/ 144 w 270"/>
                <a:gd name="T119" fmla="*/ 18 h 338"/>
                <a:gd name="T120" fmla="*/ 144 w 270"/>
                <a:gd name="T121" fmla="*/ 40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0" h="338">
                  <a:moveTo>
                    <a:pt x="270" y="338"/>
                  </a:moveTo>
                  <a:lnTo>
                    <a:pt x="126" y="338"/>
                  </a:lnTo>
                  <a:lnTo>
                    <a:pt x="126" y="300"/>
                  </a:lnTo>
                  <a:lnTo>
                    <a:pt x="0" y="300"/>
                  </a:lnTo>
                  <a:lnTo>
                    <a:pt x="0" y="242"/>
                  </a:lnTo>
                  <a:lnTo>
                    <a:pt x="126" y="242"/>
                  </a:lnTo>
                  <a:lnTo>
                    <a:pt x="126" y="220"/>
                  </a:lnTo>
                  <a:lnTo>
                    <a:pt x="0" y="220"/>
                  </a:lnTo>
                  <a:lnTo>
                    <a:pt x="0" y="162"/>
                  </a:lnTo>
                  <a:lnTo>
                    <a:pt x="126" y="162"/>
                  </a:lnTo>
                  <a:lnTo>
                    <a:pt x="126" y="0"/>
                  </a:lnTo>
                  <a:lnTo>
                    <a:pt x="270" y="0"/>
                  </a:lnTo>
                  <a:lnTo>
                    <a:pt x="270" y="110"/>
                  </a:lnTo>
                  <a:lnTo>
                    <a:pt x="252" y="98"/>
                  </a:lnTo>
                  <a:lnTo>
                    <a:pt x="144" y="98"/>
                  </a:lnTo>
                  <a:lnTo>
                    <a:pt x="144" y="122"/>
                  </a:lnTo>
                  <a:lnTo>
                    <a:pt x="268" y="122"/>
                  </a:lnTo>
                  <a:lnTo>
                    <a:pt x="268" y="180"/>
                  </a:lnTo>
                  <a:lnTo>
                    <a:pt x="144" y="180"/>
                  </a:lnTo>
                  <a:lnTo>
                    <a:pt x="144" y="202"/>
                  </a:lnTo>
                  <a:lnTo>
                    <a:pt x="268" y="202"/>
                  </a:lnTo>
                  <a:lnTo>
                    <a:pt x="270" y="260"/>
                  </a:lnTo>
                  <a:lnTo>
                    <a:pt x="144" y="260"/>
                  </a:lnTo>
                  <a:lnTo>
                    <a:pt x="144" y="282"/>
                  </a:lnTo>
                  <a:lnTo>
                    <a:pt x="270" y="282"/>
                  </a:lnTo>
                  <a:lnTo>
                    <a:pt x="270" y="338"/>
                  </a:lnTo>
                  <a:close/>
                  <a:moveTo>
                    <a:pt x="144" y="320"/>
                  </a:moveTo>
                  <a:lnTo>
                    <a:pt x="252" y="320"/>
                  </a:lnTo>
                  <a:lnTo>
                    <a:pt x="252" y="300"/>
                  </a:lnTo>
                  <a:lnTo>
                    <a:pt x="144" y="300"/>
                  </a:lnTo>
                  <a:lnTo>
                    <a:pt x="144" y="320"/>
                  </a:lnTo>
                  <a:close/>
                  <a:moveTo>
                    <a:pt x="18" y="282"/>
                  </a:moveTo>
                  <a:lnTo>
                    <a:pt x="126" y="282"/>
                  </a:lnTo>
                  <a:lnTo>
                    <a:pt x="126" y="260"/>
                  </a:lnTo>
                  <a:lnTo>
                    <a:pt x="18" y="260"/>
                  </a:lnTo>
                  <a:lnTo>
                    <a:pt x="18" y="282"/>
                  </a:lnTo>
                  <a:close/>
                  <a:moveTo>
                    <a:pt x="144" y="242"/>
                  </a:moveTo>
                  <a:lnTo>
                    <a:pt x="252" y="242"/>
                  </a:lnTo>
                  <a:lnTo>
                    <a:pt x="250" y="220"/>
                  </a:lnTo>
                  <a:lnTo>
                    <a:pt x="144" y="220"/>
                  </a:lnTo>
                  <a:lnTo>
                    <a:pt x="144" y="242"/>
                  </a:lnTo>
                  <a:close/>
                  <a:moveTo>
                    <a:pt x="18" y="202"/>
                  </a:moveTo>
                  <a:lnTo>
                    <a:pt x="126" y="202"/>
                  </a:lnTo>
                  <a:lnTo>
                    <a:pt x="126" y="180"/>
                  </a:lnTo>
                  <a:lnTo>
                    <a:pt x="18" y="180"/>
                  </a:lnTo>
                  <a:lnTo>
                    <a:pt x="18" y="202"/>
                  </a:lnTo>
                  <a:close/>
                  <a:moveTo>
                    <a:pt x="144" y="162"/>
                  </a:moveTo>
                  <a:lnTo>
                    <a:pt x="250" y="162"/>
                  </a:lnTo>
                  <a:lnTo>
                    <a:pt x="250" y="140"/>
                  </a:lnTo>
                  <a:lnTo>
                    <a:pt x="144" y="140"/>
                  </a:lnTo>
                  <a:lnTo>
                    <a:pt x="144" y="162"/>
                  </a:lnTo>
                  <a:close/>
                  <a:moveTo>
                    <a:pt x="144" y="80"/>
                  </a:moveTo>
                  <a:lnTo>
                    <a:pt x="252" y="80"/>
                  </a:lnTo>
                  <a:lnTo>
                    <a:pt x="252" y="58"/>
                  </a:lnTo>
                  <a:lnTo>
                    <a:pt x="144" y="58"/>
                  </a:lnTo>
                  <a:lnTo>
                    <a:pt x="144" y="80"/>
                  </a:lnTo>
                  <a:close/>
                  <a:moveTo>
                    <a:pt x="144" y="40"/>
                  </a:moveTo>
                  <a:lnTo>
                    <a:pt x="252" y="40"/>
                  </a:lnTo>
                  <a:lnTo>
                    <a:pt x="252" y="18"/>
                  </a:lnTo>
                  <a:lnTo>
                    <a:pt x="144" y="18"/>
                  </a:lnTo>
                  <a:lnTo>
                    <a:pt x="144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62">
              <a:extLst>
                <a:ext uri="{FF2B5EF4-FFF2-40B4-BE49-F238E27FC236}">
                  <a16:creationId xmlns:a16="http://schemas.microsoft.com/office/drawing/2014/main" id="{E0434EDD-2503-44E9-B532-06F5451CE3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85" y="1265"/>
              <a:ext cx="144" cy="220"/>
            </a:xfrm>
            <a:custGeom>
              <a:avLst/>
              <a:gdLst>
                <a:gd name="T0" fmla="*/ 144 w 144"/>
                <a:gd name="T1" fmla="*/ 220 h 220"/>
                <a:gd name="T2" fmla="*/ 0 w 144"/>
                <a:gd name="T3" fmla="*/ 220 h 220"/>
                <a:gd name="T4" fmla="*/ 0 w 144"/>
                <a:gd name="T5" fmla="*/ 0 h 220"/>
                <a:gd name="T6" fmla="*/ 144 w 144"/>
                <a:gd name="T7" fmla="*/ 0 h 220"/>
                <a:gd name="T8" fmla="*/ 144 w 144"/>
                <a:gd name="T9" fmla="*/ 220 h 220"/>
                <a:gd name="T10" fmla="*/ 18 w 144"/>
                <a:gd name="T11" fmla="*/ 202 h 220"/>
                <a:gd name="T12" fmla="*/ 126 w 144"/>
                <a:gd name="T13" fmla="*/ 202 h 220"/>
                <a:gd name="T14" fmla="*/ 126 w 144"/>
                <a:gd name="T15" fmla="*/ 18 h 220"/>
                <a:gd name="T16" fmla="*/ 18 w 144"/>
                <a:gd name="T17" fmla="*/ 18 h 220"/>
                <a:gd name="T18" fmla="*/ 18 w 144"/>
                <a:gd name="T19" fmla="*/ 202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4" h="220">
                  <a:moveTo>
                    <a:pt x="144" y="220"/>
                  </a:moveTo>
                  <a:lnTo>
                    <a:pt x="0" y="220"/>
                  </a:lnTo>
                  <a:lnTo>
                    <a:pt x="0" y="0"/>
                  </a:lnTo>
                  <a:lnTo>
                    <a:pt x="144" y="0"/>
                  </a:lnTo>
                  <a:lnTo>
                    <a:pt x="144" y="220"/>
                  </a:lnTo>
                  <a:close/>
                  <a:moveTo>
                    <a:pt x="18" y="202"/>
                  </a:moveTo>
                  <a:lnTo>
                    <a:pt x="126" y="202"/>
                  </a:lnTo>
                  <a:lnTo>
                    <a:pt x="126" y="18"/>
                  </a:lnTo>
                  <a:lnTo>
                    <a:pt x="18" y="18"/>
                  </a:lnTo>
                  <a:lnTo>
                    <a:pt x="18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63">
              <a:extLst>
                <a:ext uri="{FF2B5EF4-FFF2-40B4-BE49-F238E27FC236}">
                  <a16:creationId xmlns:a16="http://schemas.microsoft.com/office/drawing/2014/main" id="{88FD4512-D9EE-45EA-B6C0-49935DFA9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5" y="1061"/>
              <a:ext cx="428" cy="480"/>
            </a:xfrm>
            <a:custGeom>
              <a:avLst/>
              <a:gdLst>
                <a:gd name="T0" fmla="*/ 232 w 428"/>
                <a:gd name="T1" fmla="*/ 480 h 480"/>
                <a:gd name="T2" fmla="*/ 156 w 428"/>
                <a:gd name="T3" fmla="*/ 472 h 480"/>
                <a:gd name="T4" fmla="*/ 94 w 428"/>
                <a:gd name="T5" fmla="*/ 452 h 480"/>
                <a:gd name="T6" fmla="*/ 46 w 428"/>
                <a:gd name="T7" fmla="*/ 420 h 480"/>
                <a:gd name="T8" fmla="*/ 26 w 428"/>
                <a:gd name="T9" fmla="*/ 400 h 480"/>
                <a:gd name="T10" fmla="*/ 12 w 428"/>
                <a:gd name="T11" fmla="*/ 376 h 480"/>
                <a:gd name="T12" fmla="*/ 4 w 428"/>
                <a:gd name="T13" fmla="*/ 354 h 480"/>
                <a:gd name="T14" fmla="*/ 0 w 428"/>
                <a:gd name="T15" fmla="*/ 310 h 480"/>
                <a:gd name="T16" fmla="*/ 8 w 428"/>
                <a:gd name="T17" fmla="*/ 264 h 480"/>
                <a:gd name="T18" fmla="*/ 32 w 428"/>
                <a:gd name="T19" fmla="*/ 216 h 480"/>
                <a:gd name="T20" fmla="*/ 48 w 428"/>
                <a:gd name="T21" fmla="*/ 194 h 480"/>
                <a:gd name="T22" fmla="*/ 108 w 428"/>
                <a:gd name="T23" fmla="*/ 114 h 480"/>
                <a:gd name="T24" fmla="*/ 144 w 428"/>
                <a:gd name="T25" fmla="*/ 56 h 480"/>
                <a:gd name="T26" fmla="*/ 168 w 428"/>
                <a:gd name="T27" fmla="*/ 8 h 480"/>
                <a:gd name="T28" fmla="*/ 292 w 428"/>
                <a:gd name="T29" fmla="*/ 0 h 480"/>
                <a:gd name="T30" fmla="*/ 294 w 428"/>
                <a:gd name="T31" fmla="*/ 8 h 480"/>
                <a:gd name="T32" fmla="*/ 318 w 428"/>
                <a:gd name="T33" fmla="*/ 56 h 480"/>
                <a:gd name="T34" fmla="*/ 356 w 428"/>
                <a:gd name="T35" fmla="*/ 114 h 480"/>
                <a:gd name="T36" fmla="*/ 416 w 428"/>
                <a:gd name="T37" fmla="*/ 194 h 480"/>
                <a:gd name="T38" fmla="*/ 428 w 428"/>
                <a:gd name="T39" fmla="*/ 212 h 480"/>
                <a:gd name="T40" fmla="*/ 414 w 428"/>
                <a:gd name="T41" fmla="*/ 222 h 480"/>
                <a:gd name="T42" fmla="*/ 402 w 428"/>
                <a:gd name="T43" fmla="*/ 206 h 480"/>
                <a:gd name="T44" fmla="*/ 348 w 428"/>
                <a:gd name="T45" fmla="*/ 136 h 480"/>
                <a:gd name="T46" fmla="*/ 312 w 428"/>
                <a:gd name="T47" fmla="*/ 80 h 480"/>
                <a:gd name="T48" fmla="*/ 280 w 428"/>
                <a:gd name="T49" fmla="*/ 18 h 480"/>
                <a:gd name="T50" fmla="*/ 184 w 428"/>
                <a:gd name="T51" fmla="*/ 18 h 480"/>
                <a:gd name="T52" fmla="*/ 152 w 428"/>
                <a:gd name="T53" fmla="*/ 80 h 480"/>
                <a:gd name="T54" fmla="*/ 116 w 428"/>
                <a:gd name="T55" fmla="*/ 136 h 480"/>
                <a:gd name="T56" fmla="*/ 62 w 428"/>
                <a:gd name="T57" fmla="*/ 206 h 480"/>
                <a:gd name="T58" fmla="*/ 46 w 428"/>
                <a:gd name="T59" fmla="*/ 226 h 480"/>
                <a:gd name="T60" fmla="*/ 26 w 428"/>
                <a:gd name="T61" fmla="*/ 268 h 480"/>
                <a:gd name="T62" fmla="*/ 18 w 428"/>
                <a:gd name="T63" fmla="*/ 310 h 480"/>
                <a:gd name="T64" fmla="*/ 22 w 428"/>
                <a:gd name="T65" fmla="*/ 350 h 480"/>
                <a:gd name="T66" fmla="*/ 30 w 428"/>
                <a:gd name="T67" fmla="*/ 368 h 480"/>
                <a:gd name="T68" fmla="*/ 42 w 428"/>
                <a:gd name="T69" fmla="*/ 390 h 480"/>
                <a:gd name="T70" fmla="*/ 80 w 428"/>
                <a:gd name="T71" fmla="*/ 424 h 480"/>
                <a:gd name="T72" fmla="*/ 130 w 428"/>
                <a:gd name="T73" fmla="*/ 448 h 480"/>
                <a:gd name="T74" fmla="*/ 196 w 428"/>
                <a:gd name="T75" fmla="*/ 460 h 480"/>
                <a:gd name="T76" fmla="*/ 232 w 428"/>
                <a:gd name="T77" fmla="*/ 462 h 480"/>
                <a:gd name="T78" fmla="*/ 290 w 428"/>
                <a:gd name="T79" fmla="*/ 458 h 480"/>
                <a:gd name="T80" fmla="*/ 340 w 428"/>
                <a:gd name="T81" fmla="*/ 444 h 480"/>
                <a:gd name="T82" fmla="*/ 346 w 428"/>
                <a:gd name="T83" fmla="*/ 462 h 480"/>
                <a:gd name="T84" fmla="*/ 292 w 428"/>
                <a:gd name="T85" fmla="*/ 476 h 480"/>
                <a:gd name="T86" fmla="*/ 232 w 428"/>
                <a:gd name="T87" fmla="*/ 48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28" h="480">
                  <a:moveTo>
                    <a:pt x="232" y="480"/>
                  </a:moveTo>
                  <a:lnTo>
                    <a:pt x="232" y="480"/>
                  </a:lnTo>
                  <a:lnTo>
                    <a:pt x="192" y="478"/>
                  </a:lnTo>
                  <a:lnTo>
                    <a:pt x="156" y="472"/>
                  </a:lnTo>
                  <a:lnTo>
                    <a:pt x="124" y="464"/>
                  </a:lnTo>
                  <a:lnTo>
                    <a:pt x="94" y="452"/>
                  </a:lnTo>
                  <a:lnTo>
                    <a:pt x="68" y="438"/>
                  </a:lnTo>
                  <a:lnTo>
                    <a:pt x="46" y="420"/>
                  </a:lnTo>
                  <a:lnTo>
                    <a:pt x="36" y="410"/>
                  </a:lnTo>
                  <a:lnTo>
                    <a:pt x="26" y="400"/>
                  </a:lnTo>
                  <a:lnTo>
                    <a:pt x="20" y="388"/>
                  </a:lnTo>
                  <a:lnTo>
                    <a:pt x="12" y="376"/>
                  </a:lnTo>
                  <a:lnTo>
                    <a:pt x="12" y="376"/>
                  </a:lnTo>
                  <a:lnTo>
                    <a:pt x="4" y="354"/>
                  </a:lnTo>
                  <a:lnTo>
                    <a:pt x="0" y="332"/>
                  </a:lnTo>
                  <a:lnTo>
                    <a:pt x="0" y="310"/>
                  </a:lnTo>
                  <a:lnTo>
                    <a:pt x="2" y="286"/>
                  </a:lnTo>
                  <a:lnTo>
                    <a:pt x="8" y="264"/>
                  </a:lnTo>
                  <a:lnTo>
                    <a:pt x="18" y="240"/>
                  </a:lnTo>
                  <a:lnTo>
                    <a:pt x="32" y="216"/>
                  </a:lnTo>
                  <a:lnTo>
                    <a:pt x="48" y="194"/>
                  </a:lnTo>
                  <a:lnTo>
                    <a:pt x="48" y="194"/>
                  </a:lnTo>
                  <a:lnTo>
                    <a:pt x="80" y="152"/>
                  </a:lnTo>
                  <a:lnTo>
                    <a:pt x="108" y="114"/>
                  </a:lnTo>
                  <a:lnTo>
                    <a:pt x="128" y="82"/>
                  </a:lnTo>
                  <a:lnTo>
                    <a:pt x="144" y="56"/>
                  </a:lnTo>
                  <a:lnTo>
                    <a:pt x="164" y="20"/>
                  </a:lnTo>
                  <a:lnTo>
                    <a:pt x="168" y="8"/>
                  </a:lnTo>
                  <a:lnTo>
                    <a:pt x="170" y="0"/>
                  </a:lnTo>
                  <a:lnTo>
                    <a:pt x="292" y="0"/>
                  </a:lnTo>
                  <a:lnTo>
                    <a:pt x="294" y="8"/>
                  </a:lnTo>
                  <a:lnTo>
                    <a:pt x="294" y="8"/>
                  </a:lnTo>
                  <a:lnTo>
                    <a:pt x="300" y="20"/>
                  </a:lnTo>
                  <a:lnTo>
                    <a:pt x="318" y="56"/>
                  </a:lnTo>
                  <a:lnTo>
                    <a:pt x="334" y="82"/>
                  </a:lnTo>
                  <a:lnTo>
                    <a:pt x="356" y="114"/>
                  </a:lnTo>
                  <a:lnTo>
                    <a:pt x="382" y="152"/>
                  </a:lnTo>
                  <a:lnTo>
                    <a:pt x="416" y="194"/>
                  </a:lnTo>
                  <a:lnTo>
                    <a:pt x="416" y="194"/>
                  </a:lnTo>
                  <a:lnTo>
                    <a:pt x="428" y="212"/>
                  </a:lnTo>
                  <a:lnTo>
                    <a:pt x="414" y="222"/>
                  </a:lnTo>
                  <a:lnTo>
                    <a:pt x="414" y="222"/>
                  </a:lnTo>
                  <a:lnTo>
                    <a:pt x="402" y="206"/>
                  </a:lnTo>
                  <a:lnTo>
                    <a:pt x="402" y="206"/>
                  </a:lnTo>
                  <a:lnTo>
                    <a:pt x="372" y="168"/>
                  </a:lnTo>
                  <a:lnTo>
                    <a:pt x="348" y="136"/>
                  </a:lnTo>
                  <a:lnTo>
                    <a:pt x="328" y="106"/>
                  </a:lnTo>
                  <a:lnTo>
                    <a:pt x="312" y="80"/>
                  </a:lnTo>
                  <a:lnTo>
                    <a:pt x="290" y="42"/>
                  </a:lnTo>
                  <a:lnTo>
                    <a:pt x="280" y="18"/>
                  </a:lnTo>
                  <a:lnTo>
                    <a:pt x="184" y="18"/>
                  </a:lnTo>
                  <a:lnTo>
                    <a:pt x="184" y="18"/>
                  </a:lnTo>
                  <a:lnTo>
                    <a:pt x="172" y="42"/>
                  </a:lnTo>
                  <a:lnTo>
                    <a:pt x="152" y="80"/>
                  </a:lnTo>
                  <a:lnTo>
                    <a:pt x="136" y="106"/>
                  </a:lnTo>
                  <a:lnTo>
                    <a:pt x="116" y="136"/>
                  </a:lnTo>
                  <a:lnTo>
                    <a:pt x="90" y="168"/>
                  </a:lnTo>
                  <a:lnTo>
                    <a:pt x="62" y="206"/>
                  </a:lnTo>
                  <a:lnTo>
                    <a:pt x="62" y="206"/>
                  </a:lnTo>
                  <a:lnTo>
                    <a:pt x="46" y="226"/>
                  </a:lnTo>
                  <a:lnTo>
                    <a:pt x="34" y="248"/>
                  </a:lnTo>
                  <a:lnTo>
                    <a:pt x="26" y="268"/>
                  </a:lnTo>
                  <a:lnTo>
                    <a:pt x="20" y="290"/>
                  </a:lnTo>
                  <a:lnTo>
                    <a:pt x="18" y="310"/>
                  </a:lnTo>
                  <a:lnTo>
                    <a:pt x="18" y="330"/>
                  </a:lnTo>
                  <a:lnTo>
                    <a:pt x="22" y="350"/>
                  </a:lnTo>
                  <a:lnTo>
                    <a:pt x="30" y="368"/>
                  </a:lnTo>
                  <a:lnTo>
                    <a:pt x="30" y="368"/>
                  </a:lnTo>
                  <a:lnTo>
                    <a:pt x="34" y="380"/>
                  </a:lnTo>
                  <a:lnTo>
                    <a:pt x="42" y="390"/>
                  </a:lnTo>
                  <a:lnTo>
                    <a:pt x="58" y="408"/>
                  </a:lnTo>
                  <a:lnTo>
                    <a:pt x="80" y="424"/>
                  </a:lnTo>
                  <a:lnTo>
                    <a:pt x="104" y="438"/>
                  </a:lnTo>
                  <a:lnTo>
                    <a:pt x="130" y="448"/>
                  </a:lnTo>
                  <a:lnTo>
                    <a:pt x="162" y="456"/>
                  </a:lnTo>
                  <a:lnTo>
                    <a:pt x="196" y="460"/>
                  </a:lnTo>
                  <a:lnTo>
                    <a:pt x="232" y="462"/>
                  </a:lnTo>
                  <a:lnTo>
                    <a:pt x="232" y="462"/>
                  </a:lnTo>
                  <a:lnTo>
                    <a:pt x="262" y="460"/>
                  </a:lnTo>
                  <a:lnTo>
                    <a:pt x="290" y="458"/>
                  </a:lnTo>
                  <a:lnTo>
                    <a:pt x="316" y="452"/>
                  </a:lnTo>
                  <a:lnTo>
                    <a:pt x="340" y="444"/>
                  </a:lnTo>
                  <a:lnTo>
                    <a:pt x="346" y="462"/>
                  </a:lnTo>
                  <a:lnTo>
                    <a:pt x="346" y="462"/>
                  </a:lnTo>
                  <a:lnTo>
                    <a:pt x="320" y="470"/>
                  </a:lnTo>
                  <a:lnTo>
                    <a:pt x="292" y="476"/>
                  </a:lnTo>
                  <a:lnTo>
                    <a:pt x="262" y="478"/>
                  </a:lnTo>
                  <a:lnTo>
                    <a:pt x="232" y="480"/>
                  </a:lnTo>
                  <a:lnTo>
                    <a:pt x="232" y="4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64">
              <a:extLst>
                <a:ext uri="{FF2B5EF4-FFF2-40B4-BE49-F238E27FC236}">
                  <a16:creationId xmlns:a16="http://schemas.microsoft.com/office/drawing/2014/main" id="{E4526D05-21B6-4325-B1FB-16352B5005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9" y="933"/>
              <a:ext cx="498" cy="608"/>
            </a:xfrm>
            <a:custGeom>
              <a:avLst/>
              <a:gdLst>
                <a:gd name="T0" fmla="*/ 304 w 498"/>
                <a:gd name="T1" fmla="*/ 608 h 608"/>
                <a:gd name="T2" fmla="*/ 242 w 498"/>
                <a:gd name="T3" fmla="*/ 602 h 608"/>
                <a:gd name="T4" fmla="*/ 186 w 498"/>
                <a:gd name="T5" fmla="*/ 584 h 608"/>
                <a:gd name="T6" fmla="*/ 134 w 498"/>
                <a:gd name="T7" fmla="*/ 556 h 608"/>
                <a:gd name="T8" fmla="*/ 88 w 498"/>
                <a:gd name="T9" fmla="*/ 518 h 608"/>
                <a:gd name="T10" fmla="*/ 52 w 498"/>
                <a:gd name="T11" fmla="*/ 474 h 608"/>
                <a:gd name="T12" fmla="*/ 24 w 498"/>
                <a:gd name="T13" fmla="*/ 422 h 608"/>
                <a:gd name="T14" fmla="*/ 6 w 498"/>
                <a:gd name="T15" fmla="*/ 366 h 608"/>
                <a:gd name="T16" fmla="*/ 0 w 498"/>
                <a:gd name="T17" fmla="*/ 304 h 608"/>
                <a:gd name="T18" fmla="*/ 2 w 498"/>
                <a:gd name="T19" fmla="*/ 272 h 608"/>
                <a:gd name="T20" fmla="*/ 14 w 498"/>
                <a:gd name="T21" fmla="*/ 214 h 608"/>
                <a:gd name="T22" fmla="*/ 36 w 498"/>
                <a:gd name="T23" fmla="*/ 160 h 608"/>
                <a:gd name="T24" fmla="*/ 70 w 498"/>
                <a:gd name="T25" fmla="*/ 110 h 608"/>
                <a:gd name="T26" fmla="*/ 110 w 498"/>
                <a:gd name="T27" fmla="*/ 70 h 608"/>
                <a:gd name="T28" fmla="*/ 158 w 498"/>
                <a:gd name="T29" fmla="*/ 36 h 608"/>
                <a:gd name="T30" fmla="*/ 214 w 498"/>
                <a:gd name="T31" fmla="*/ 14 h 608"/>
                <a:gd name="T32" fmla="*/ 272 w 498"/>
                <a:gd name="T33" fmla="*/ 2 h 608"/>
                <a:gd name="T34" fmla="*/ 304 w 498"/>
                <a:gd name="T35" fmla="*/ 0 h 608"/>
                <a:gd name="T36" fmla="*/ 354 w 498"/>
                <a:gd name="T37" fmla="*/ 4 h 608"/>
                <a:gd name="T38" fmla="*/ 402 w 498"/>
                <a:gd name="T39" fmla="*/ 16 h 608"/>
                <a:gd name="T40" fmla="*/ 448 w 498"/>
                <a:gd name="T41" fmla="*/ 36 h 608"/>
                <a:gd name="T42" fmla="*/ 490 w 498"/>
                <a:gd name="T43" fmla="*/ 64 h 608"/>
                <a:gd name="T44" fmla="*/ 486 w 498"/>
                <a:gd name="T45" fmla="*/ 84 h 608"/>
                <a:gd name="T46" fmla="*/ 480 w 498"/>
                <a:gd name="T47" fmla="*/ 78 h 608"/>
                <a:gd name="T48" fmla="*/ 440 w 498"/>
                <a:gd name="T49" fmla="*/ 52 h 608"/>
                <a:gd name="T50" fmla="*/ 396 w 498"/>
                <a:gd name="T51" fmla="*/ 34 h 608"/>
                <a:gd name="T52" fmla="*/ 352 w 498"/>
                <a:gd name="T53" fmla="*/ 22 h 608"/>
                <a:gd name="T54" fmla="*/ 304 w 498"/>
                <a:gd name="T55" fmla="*/ 18 h 608"/>
                <a:gd name="T56" fmla="*/ 274 w 498"/>
                <a:gd name="T57" fmla="*/ 20 h 608"/>
                <a:gd name="T58" fmla="*/ 218 w 498"/>
                <a:gd name="T59" fmla="*/ 30 h 608"/>
                <a:gd name="T60" fmla="*/ 168 w 498"/>
                <a:gd name="T61" fmla="*/ 52 h 608"/>
                <a:gd name="T62" fmla="*/ 122 w 498"/>
                <a:gd name="T63" fmla="*/ 84 h 608"/>
                <a:gd name="T64" fmla="*/ 84 w 498"/>
                <a:gd name="T65" fmla="*/ 122 h 608"/>
                <a:gd name="T66" fmla="*/ 52 w 498"/>
                <a:gd name="T67" fmla="*/ 168 h 608"/>
                <a:gd name="T68" fmla="*/ 30 w 498"/>
                <a:gd name="T69" fmla="*/ 218 h 608"/>
                <a:gd name="T70" fmla="*/ 20 w 498"/>
                <a:gd name="T71" fmla="*/ 274 h 608"/>
                <a:gd name="T72" fmla="*/ 18 w 498"/>
                <a:gd name="T73" fmla="*/ 304 h 608"/>
                <a:gd name="T74" fmla="*/ 24 w 498"/>
                <a:gd name="T75" fmla="*/ 362 h 608"/>
                <a:gd name="T76" fmla="*/ 40 w 498"/>
                <a:gd name="T77" fmla="*/ 416 h 608"/>
                <a:gd name="T78" fmla="*/ 66 w 498"/>
                <a:gd name="T79" fmla="*/ 464 h 608"/>
                <a:gd name="T80" fmla="*/ 102 w 498"/>
                <a:gd name="T81" fmla="*/ 506 h 608"/>
                <a:gd name="T82" fmla="*/ 144 w 498"/>
                <a:gd name="T83" fmla="*/ 540 h 608"/>
                <a:gd name="T84" fmla="*/ 192 w 498"/>
                <a:gd name="T85" fmla="*/ 568 h 608"/>
                <a:gd name="T86" fmla="*/ 246 w 498"/>
                <a:gd name="T87" fmla="*/ 584 h 608"/>
                <a:gd name="T88" fmla="*/ 304 w 498"/>
                <a:gd name="T89" fmla="*/ 590 h 608"/>
                <a:gd name="T90" fmla="*/ 326 w 498"/>
                <a:gd name="T91" fmla="*/ 588 h 608"/>
                <a:gd name="T92" fmla="*/ 370 w 498"/>
                <a:gd name="T93" fmla="*/ 582 h 608"/>
                <a:gd name="T94" fmla="*/ 400 w 498"/>
                <a:gd name="T95" fmla="*/ 574 h 608"/>
                <a:gd name="T96" fmla="*/ 398 w 498"/>
                <a:gd name="T97" fmla="*/ 592 h 608"/>
                <a:gd name="T98" fmla="*/ 374 w 498"/>
                <a:gd name="T99" fmla="*/ 600 h 608"/>
                <a:gd name="T100" fmla="*/ 328 w 498"/>
                <a:gd name="T101" fmla="*/ 606 h 608"/>
                <a:gd name="T102" fmla="*/ 304 w 498"/>
                <a:gd name="T103" fmla="*/ 608 h 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98" h="608">
                  <a:moveTo>
                    <a:pt x="304" y="608"/>
                  </a:moveTo>
                  <a:lnTo>
                    <a:pt x="304" y="608"/>
                  </a:lnTo>
                  <a:lnTo>
                    <a:pt x="272" y="606"/>
                  </a:lnTo>
                  <a:lnTo>
                    <a:pt x="242" y="602"/>
                  </a:lnTo>
                  <a:lnTo>
                    <a:pt x="214" y="594"/>
                  </a:lnTo>
                  <a:lnTo>
                    <a:pt x="186" y="584"/>
                  </a:lnTo>
                  <a:lnTo>
                    <a:pt x="158" y="572"/>
                  </a:lnTo>
                  <a:lnTo>
                    <a:pt x="134" y="556"/>
                  </a:lnTo>
                  <a:lnTo>
                    <a:pt x="110" y="538"/>
                  </a:lnTo>
                  <a:lnTo>
                    <a:pt x="88" y="518"/>
                  </a:lnTo>
                  <a:lnTo>
                    <a:pt x="70" y="498"/>
                  </a:lnTo>
                  <a:lnTo>
                    <a:pt x="52" y="474"/>
                  </a:lnTo>
                  <a:lnTo>
                    <a:pt x="36" y="448"/>
                  </a:lnTo>
                  <a:lnTo>
                    <a:pt x="24" y="422"/>
                  </a:lnTo>
                  <a:lnTo>
                    <a:pt x="14" y="394"/>
                  </a:lnTo>
                  <a:lnTo>
                    <a:pt x="6" y="366"/>
                  </a:lnTo>
                  <a:lnTo>
                    <a:pt x="2" y="334"/>
                  </a:lnTo>
                  <a:lnTo>
                    <a:pt x="0" y="304"/>
                  </a:lnTo>
                  <a:lnTo>
                    <a:pt x="0" y="304"/>
                  </a:lnTo>
                  <a:lnTo>
                    <a:pt x="2" y="272"/>
                  </a:lnTo>
                  <a:lnTo>
                    <a:pt x="6" y="242"/>
                  </a:lnTo>
                  <a:lnTo>
                    <a:pt x="14" y="214"/>
                  </a:lnTo>
                  <a:lnTo>
                    <a:pt x="24" y="186"/>
                  </a:lnTo>
                  <a:lnTo>
                    <a:pt x="36" y="160"/>
                  </a:lnTo>
                  <a:lnTo>
                    <a:pt x="52" y="134"/>
                  </a:lnTo>
                  <a:lnTo>
                    <a:pt x="70" y="110"/>
                  </a:lnTo>
                  <a:lnTo>
                    <a:pt x="88" y="90"/>
                  </a:lnTo>
                  <a:lnTo>
                    <a:pt x="110" y="70"/>
                  </a:lnTo>
                  <a:lnTo>
                    <a:pt x="134" y="52"/>
                  </a:lnTo>
                  <a:lnTo>
                    <a:pt x="158" y="36"/>
                  </a:lnTo>
                  <a:lnTo>
                    <a:pt x="186" y="24"/>
                  </a:lnTo>
                  <a:lnTo>
                    <a:pt x="214" y="14"/>
                  </a:lnTo>
                  <a:lnTo>
                    <a:pt x="242" y="6"/>
                  </a:lnTo>
                  <a:lnTo>
                    <a:pt x="272" y="2"/>
                  </a:lnTo>
                  <a:lnTo>
                    <a:pt x="304" y="0"/>
                  </a:lnTo>
                  <a:lnTo>
                    <a:pt x="304" y="0"/>
                  </a:lnTo>
                  <a:lnTo>
                    <a:pt x="330" y="2"/>
                  </a:lnTo>
                  <a:lnTo>
                    <a:pt x="354" y="4"/>
                  </a:lnTo>
                  <a:lnTo>
                    <a:pt x="378" y="10"/>
                  </a:lnTo>
                  <a:lnTo>
                    <a:pt x="402" y="16"/>
                  </a:lnTo>
                  <a:lnTo>
                    <a:pt x="426" y="26"/>
                  </a:lnTo>
                  <a:lnTo>
                    <a:pt x="448" y="36"/>
                  </a:lnTo>
                  <a:lnTo>
                    <a:pt x="470" y="50"/>
                  </a:lnTo>
                  <a:lnTo>
                    <a:pt x="490" y="64"/>
                  </a:lnTo>
                  <a:lnTo>
                    <a:pt x="498" y="70"/>
                  </a:lnTo>
                  <a:lnTo>
                    <a:pt x="486" y="84"/>
                  </a:lnTo>
                  <a:lnTo>
                    <a:pt x="480" y="78"/>
                  </a:lnTo>
                  <a:lnTo>
                    <a:pt x="480" y="78"/>
                  </a:lnTo>
                  <a:lnTo>
                    <a:pt x="460" y="64"/>
                  </a:lnTo>
                  <a:lnTo>
                    <a:pt x="440" y="52"/>
                  </a:lnTo>
                  <a:lnTo>
                    <a:pt x="418" y="42"/>
                  </a:lnTo>
                  <a:lnTo>
                    <a:pt x="396" y="34"/>
                  </a:lnTo>
                  <a:lnTo>
                    <a:pt x="374" y="26"/>
                  </a:lnTo>
                  <a:lnTo>
                    <a:pt x="352" y="22"/>
                  </a:lnTo>
                  <a:lnTo>
                    <a:pt x="328" y="18"/>
                  </a:lnTo>
                  <a:lnTo>
                    <a:pt x="304" y="18"/>
                  </a:lnTo>
                  <a:lnTo>
                    <a:pt x="304" y="18"/>
                  </a:lnTo>
                  <a:lnTo>
                    <a:pt x="274" y="20"/>
                  </a:lnTo>
                  <a:lnTo>
                    <a:pt x="246" y="24"/>
                  </a:lnTo>
                  <a:lnTo>
                    <a:pt x="218" y="30"/>
                  </a:lnTo>
                  <a:lnTo>
                    <a:pt x="192" y="40"/>
                  </a:lnTo>
                  <a:lnTo>
                    <a:pt x="168" y="52"/>
                  </a:lnTo>
                  <a:lnTo>
                    <a:pt x="144" y="66"/>
                  </a:lnTo>
                  <a:lnTo>
                    <a:pt x="122" y="84"/>
                  </a:lnTo>
                  <a:lnTo>
                    <a:pt x="102" y="102"/>
                  </a:lnTo>
                  <a:lnTo>
                    <a:pt x="84" y="122"/>
                  </a:lnTo>
                  <a:lnTo>
                    <a:pt x="66" y="144"/>
                  </a:lnTo>
                  <a:lnTo>
                    <a:pt x="52" y="168"/>
                  </a:lnTo>
                  <a:lnTo>
                    <a:pt x="40" y="192"/>
                  </a:lnTo>
                  <a:lnTo>
                    <a:pt x="30" y="218"/>
                  </a:lnTo>
                  <a:lnTo>
                    <a:pt x="24" y="246"/>
                  </a:lnTo>
                  <a:lnTo>
                    <a:pt x="20" y="274"/>
                  </a:lnTo>
                  <a:lnTo>
                    <a:pt x="18" y="304"/>
                  </a:lnTo>
                  <a:lnTo>
                    <a:pt x="18" y="304"/>
                  </a:lnTo>
                  <a:lnTo>
                    <a:pt x="20" y="334"/>
                  </a:lnTo>
                  <a:lnTo>
                    <a:pt x="24" y="362"/>
                  </a:lnTo>
                  <a:lnTo>
                    <a:pt x="30" y="388"/>
                  </a:lnTo>
                  <a:lnTo>
                    <a:pt x="40" y="416"/>
                  </a:lnTo>
                  <a:lnTo>
                    <a:pt x="52" y="440"/>
                  </a:lnTo>
                  <a:lnTo>
                    <a:pt x="66" y="464"/>
                  </a:lnTo>
                  <a:lnTo>
                    <a:pt x="84" y="486"/>
                  </a:lnTo>
                  <a:lnTo>
                    <a:pt x="102" y="506"/>
                  </a:lnTo>
                  <a:lnTo>
                    <a:pt x="122" y="524"/>
                  </a:lnTo>
                  <a:lnTo>
                    <a:pt x="144" y="540"/>
                  </a:lnTo>
                  <a:lnTo>
                    <a:pt x="168" y="556"/>
                  </a:lnTo>
                  <a:lnTo>
                    <a:pt x="192" y="568"/>
                  </a:lnTo>
                  <a:lnTo>
                    <a:pt x="218" y="576"/>
                  </a:lnTo>
                  <a:lnTo>
                    <a:pt x="246" y="584"/>
                  </a:lnTo>
                  <a:lnTo>
                    <a:pt x="274" y="588"/>
                  </a:lnTo>
                  <a:lnTo>
                    <a:pt x="304" y="590"/>
                  </a:lnTo>
                  <a:lnTo>
                    <a:pt x="304" y="590"/>
                  </a:lnTo>
                  <a:lnTo>
                    <a:pt x="326" y="588"/>
                  </a:lnTo>
                  <a:lnTo>
                    <a:pt x="348" y="586"/>
                  </a:lnTo>
                  <a:lnTo>
                    <a:pt x="370" y="582"/>
                  </a:lnTo>
                  <a:lnTo>
                    <a:pt x="392" y="576"/>
                  </a:lnTo>
                  <a:lnTo>
                    <a:pt x="400" y="574"/>
                  </a:lnTo>
                  <a:lnTo>
                    <a:pt x="406" y="590"/>
                  </a:lnTo>
                  <a:lnTo>
                    <a:pt x="398" y="592"/>
                  </a:lnTo>
                  <a:lnTo>
                    <a:pt x="398" y="592"/>
                  </a:lnTo>
                  <a:lnTo>
                    <a:pt x="374" y="600"/>
                  </a:lnTo>
                  <a:lnTo>
                    <a:pt x="352" y="604"/>
                  </a:lnTo>
                  <a:lnTo>
                    <a:pt x="328" y="606"/>
                  </a:lnTo>
                  <a:lnTo>
                    <a:pt x="304" y="608"/>
                  </a:lnTo>
                  <a:lnTo>
                    <a:pt x="304" y="6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65">
              <a:extLst>
                <a:ext uri="{FF2B5EF4-FFF2-40B4-BE49-F238E27FC236}">
                  <a16:creationId xmlns:a16="http://schemas.microsoft.com/office/drawing/2014/main" id="{3720602C-D1D7-41EB-AE6D-98070C2A88B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3" y="933"/>
              <a:ext cx="334" cy="608"/>
            </a:xfrm>
            <a:custGeom>
              <a:avLst/>
              <a:gdLst>
                <a:gd name="T0" fmla="*/ 170 w 334"/>
                <a:gd name="T1" fmla="*/ 608 h 608"/>
                <a:gd name="T2" fmla="*/ 136 w 334"/>
                <a:gd name="T3" fmla="*/ 602 h 608"/>
                <a:gd name="T4" fmla="*/ 104 w 334"/>
                <a:gd name="T5" fmla="*/ 584 h 608"/>
                <a:gd name="T6" fmla="*/ 74 w 334"/>
                <a:gd name="T7" fmla="*/ 556 h 608"/>
                <a:gd name="T8" fmla="*/ 50 w 334"/>
                <a:gd name="T9" fmla="*/ 518 h 608"/>
                <a:gd name="T10" fmla="*/ 28 w 334"/>
                <a:gd name="T11" fmla="*/ 474 h 608"/>
                <a:gd name="T12" fmla="*/ 14 w 334"/>
                <a:gd name="T13" fmla="*/ 422 h 608"/>
                <a:gd name="T14" fmla="*/ 4 w 334"/>
                <a:gd name="T15" fmla="*/ 366 h 608"/>
                <a:gd name="T16" fmla="*/ 0 w 334"/>
                <a:gd name="T17" fmla="*/ 304 h 608"/>
                <a:gd name="T18" fmla="*/ 0 w 334"/>
                <a:gd name="T19" fmla="*/ 272 h 608"/>
                <a:gd name="T20" fmla="*/ 8 w 334"/>
                <a:gd name="T21" fmla="*/ 214 h 608"/>
                <a:gd name="T22" fmla="*/ 20 w 334"/>
                <a:gd name="T23" fmla="*/ 160 h 608"/>
                <a:gd name="T24" fmla="*/ 38 w 334"/>
                <a:gd name="T25" fmla="*/ 110 h 608"/>
                <a:gd name="T26" fmla="*/ 62 w 334"/>
                <a:gd name="T27" fmla="*/ 70 h 608"/>
                <a:gd name="T28" fmla="*/ 88 w 334"/>
                <a:gd name="T29" fmla="*/ 36 h 608"/>
                <a:gd name="T30" fmla="*/ 120 w 334"/>
                <a:gd name="T31" fmla="*/ 14 h 608"/>
                <a:gd name="T32" fmla="*/ 152 w 334"/>
                <a:gd name="T33" fmla="*/ 2 h 608"/>
                <a:gd name="T34" fmla="*/ 170 w 334"/>
                <a:gd name="T35" fmla="*/ 0 h 608"/>
                <a:gd name="T36" fmla="*/ 198 w 334"/>
                <a:gd name="T37" fmla="*/ 4 h 608"/>
                <a:gd name="T38" fmla="*/ 224 w 334"/>
                <a:gd name="T39" fmla="*/ 16 h 608"/>
                <a:gd name="T40" fmla="*/ 248 w 334"/>
                <a:gd name="T41" fmla="*/ 34 h 608"/>
                <a:gd name="T42" fmla="*/ 272 w 334"/>
                <a:gd name="T43" fmla="*/ 60 h 608"/>
                <a:gd name="T44" fmla="*/ 292 w 334"/>
                <a:gd name="T45" fmla="*/ 90 h 608"/>
                <a:gd name="T46" fmla="*/ 308 w 334"/>
                <a:gd name="T47" fmla="*/ 126 h 608"/>
                <a:gd name="T48" fmla="*/ 322 w 334"/>
                <a:gd name="T49" fmla="*/ 168 h 608"/>
                <a:gd name="T50" fmla="*/ 334 w 334"/>
                <a:gd name="T51" fmla="*/ 224 h 608"/>
                <a:gd name="T52" fmla="*/ 314 w 334"/>
                <a:gd name="T53" fmla="*/ 218 h 608"/>
                <a:gd name="T54" fmla="*/ 306 w 334"/>
                <a:gd name="T55" fmla="*/ 176 h 608"/>
                <a:gd name="T56" fmla="*/ 278 w 334"/>
                <a:gd name="T57" fmla="*/ 102 h 608"/>
                <a:gd name="T58" fmla="*/ 250 w 334"/>
                <a:gd name="T59" fmla="*/ 62 h 608"/>
                <a:gd name="T60" fmla="*/ 228 w 334"/>
                <a:gd name="T61" fmla="*/ 40 h 608"/>
                <a:gd name="T62" fmla="*/ 206 w 334"/>
                <a:gd name="T63" fmla="*/ 26 h 608"/>
                <a:gd name="T64" fmla="*/ 182 w 334"/>
                <a:gd name="T65" fmla="*/ 18 h 608"/>
                <a:gd name="T66" fmla="*/ 170 w 334"/>
                <a:gd name="T67" fmla="*/ 18 h 608"/>
                <a:gd name="T68" fmla="*/ 140 w 334"/>
                <a:gd name="T69" fmla="*/ 24 h 608"/>
                <a:gd name="T70" fmla="*/ 110 w 334"/>
                <a:gd name="T71" fmla="*/ 40 h 608"/>
                <a:gd name="T72" fmla="*/ 84 w 334"/>
                <a:gd name="T73" fmla="*/ 66 h 608"/>
                <a:gd name="T74" fmla="*/ 62 w 334"/>
                <a:gd name="T75" fmla="*/ 102 h 608"/>
                <a:gd name="T76" fmla="*/ 44 w 334"/>
                <a:gd name="T77" fmla="*/ 144 h 608"/>
                <a:gd name="T78" fmla="*/ 30 w 334"/>
                <a:gd name="T79" fmla="*/ 192 h 608"/>
                <a:gd name="T80" fmla="*/ 20 w 334"/>
                <a:gd name="T81" fmla="*/ 246 h 608"/>
                <a:gd name="T82" fmla="*/ 18 w 334"/>
                <a:gd name="T83" fmla="*/ 304 h 608"/>
                <a:gd name="T84" fmla="*/ 18 w 334"/>
                <a:gd name="T85" fmla="*/ 334 h 608"/>
                <a:gd name="T86" fmla="*/ 24 w 334"/>
                <a:gd name="T87" fmla="*/ 388 h 608"/>
                <a:gd name="T88" fmla="*/ 36 w 334"/>
                <a:gd name="T89" fmla="*/ 440 h 608"/>
                <a:gd name="T90" fmla="*/ 52 w 334"/>
                <a:gd name="T91" fmla="*/ 486 h 608"/>
                <a:gd name="T92" fmla="*/ 74 w 334"/>
                <a:gd name="T93" fmla="*/ 524 h 608"/>
                <a:gd name="T94" fmla="*/ 98 w 334"/>
                <a:gd name="T95" fmla="*/ 556 h 608"/>
                <a:gd name="T96" fmla="*/ 124 w 334"/>
                <a:gd name="T97" fmla="*/ 576 h 608"/>
                <a:gd name="T98" fmla="*/ 154 w 334"/>
                <a:gd name="T99" fmla="*/ 588 h 608"/>
                <a:gd name="T100" fmla="*/ 170 w 334"/>
                <a:gd name="T101" fmla="*/ 590 h 608"/>
                <a:gd name="T102" fmla="*/ 206 w 334"/>
                <a:gd name="T103" fmla="*/ 582 h 608"/>
                <a:gd name="T104" fmla="*/ 242 w 334"/>
                <a:gd name="T105" fmla="*/ 556 h 608"/>
                <a:gd name="T106" fmla="*/ 260 w 334"/>
                <a:gd name="T107" fmla="*/ 562 h 608"/>
                <a:gd name="T108" fmla="*/ 254 w 334"/>
                <a:gd name="T109" fmla="*/ 568 h 608"/>
                <a:gd name="T110" fmla="*/ 214 w 334"/>
                <a:gd name="T111" fmla="*/ 598 h 608"/>
                <a:gd name="T112" fmla="*/ 192 w 334"/>
                <a:gd name="T113" fmla="*/ 606 h 608"/>
                <a:gd name="T114" fmla="*/ 170 w 334"/>
                <a:gd name="T115" fmla="*/ 608 h 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34" h="608">
                  <a:moveTo>
                    <a:pt x="170" y="608"/>
                  </a:moveTo>
                  <a:lnTo>
                    <a:pt x="170" y="608"/>
                  </a:lnTo>
                  <a:lnTo>
                    <a:pt x="152" y="606"/>
                  </a:lnTo>
                  <a:lnTo>
                    <a:pt x="136" y="602"/>
                  </a:lnTo>
                  <a:lnTo>
                    <a:pt x="120" y="594"/>
                  </a:lnTo>
                  <a:lnTo>
                    <a:pt x="104" y="584"/>
                  </a:lnTo>
                  <a:lnTo>
                    <a:pt x="88" y="572"/>
                  </a:lnTo>
                  <a:lnTo>
                    <a:pt x="74" y="556"/>
                  </a:lnTo>
                  <a:lnTo>
                    <a:pt x="62" y="538"/>
                  </a:lnTo>
                  <a:lnTo>
                    <a:pt x="50" y="518"/>
                  </a:lnTo>
                  <a:lnTo>
                    <a:pt x="38" y="498"/>
                  </a:lnTo>
                  <a:lnTo>
                    <a:pt x="28" y="474"/>
                  </a:lnTo>
                  <a:lnTo>
                    <a:pt x="20" y="448"/>
                  </a:lnTo>
                  <a:lnTo>
                    <a:pt x="14" y="422"/>
                  </a:lnTo>
                  <a:lnTo>
                    <a:pt x="8" y="394"/>
                  </a:lnTo>
                  <a:lnTo>
                    <a:pt x="4" y="366"/>
                  </a:lnTo>
                  <a:lnTo>
                    <a:pt x="0" y="334"/>
                  </a:lnTo>
                  <a:lnTo>
                    <a:pt x="0" y="304"/>
                  </a:lnTo>
                  <a:lnTo>
                    <a:pt x="0" y="304"/>
                  </a:lnTo>
                  <a:lnTo>
                    <a:pt x="0" y="272"/>
                  </a:lnTo>
                  <a:lnTo>
                    <a:pt x="4" y="242"/>
                  </a:lnTo>
                  <a:lnTo>
                    <a:pt x="8" y="214"/>
                  </a:lnTo>
                  <a:lnTo>
                    <a:pt x="14" y="186"/>
                  </a:lnTo>
                  <a:lnTo>
                    <a:pt x="20" y="160"/>
                  </a:lnTo>
                  <a:lnTo>
                    <a:pt x="28" y="134"/>
                  </a:lnTo>
                  <a:lnTo>
                    <a:pt x="38" y="110"/>
                  </a:lnTo>
                  <a:lnTo>
                    <a:pt x="50" y="90"/>
                  </a:lnTo>
                  <a:lnTo>
                    <a:pt x="62" y="70"/>
                  </a:lnTo>
                  <a:lnTo>
                    <a:pt x="74" y="52"/>
                  </a:lnTo>
                  <a:lnTo>
                    <a:pt x="88" y="36"/>
                  </a:lnTo>
                  <a:lnTo>
                    <a:pt x="104" y="24"/>
                  </a:lnTo>
                  <a:lnTo>
                    <a:pt x="120" y="14"/>
                  </a:lnTo>
                  <a:lnTo>
                    <a:pt x="136" y="6"/>
                  </a:lnTo>
                  <a:lnTo>
                    <a:pt x="152" y="2"/>
                  </a:lnTo>
                  <a:lnTo>
                    <a:pt x="170" y="0"/>
                  </a:lnTo>
                  <a:lnTo>
                    <a:pt x="170" y="0"/>
                  </a:lnTo>
                  <a:lnTo>
                    <a:pt x="184" y="2"/>
                  </a:lnTo>
                  <a:lnTo>
                    <a:pt x="198" y="4"/>
                  </a:lnTo>
                  <a:lnTo>
                    <a:pt x="210" y="8"/>
                  </a:lnTo>
                  <a:lnTo>
                    <a:pt x="224" y="16"/>
                  </a:lnTo>
                  <a:lnTo>
                    <a:pt x="236" y="24"/>
                  </a:lnTo>
                  <a:lnTo>
                    <a:pt x="248" y="34"/>
                  </a:lnTo>
                  <a:lnTo>
                    <a:pt x="260" y="46"/>
                  </a:lnTo>
                  <a:lnTo>
                    <a:pt x="272" y="60"/>
                  </a:lnTo>
                  <a:lnTo>
                    <a:pt x="282" y="74"/>
                  </a:lnTo>
                  <a:lnTo>
                    <a:pt x="292" y="90"/>
                  </a:lnTo>
                  <a:lnTo>
                    <a:pt x="300" y="108"/>
                  </a:lnTo>
                  <a:lnTo>
                    <a:pt x="308" y="126"/>
                  </a:lnTo>
                  <a:lnTo>
                    <a:pt x="316" y="148"/>
                  </a:lnTo>
                  <a:lnTo>
                    <a:pt x="322" y="168"/>
                  </a:lnTo>
                  <a:lnTo>
                    <a:pt x="332" y="214"/>
                  </a:lnTo>
                  <a:lnTo>
                    <a:pt x="334" y="224"/>
                  </a:lnTo>
                  <a:lnTo>
                    <a:pt x="316" y="226"/>
                  </a:lnTo>
                  <a:lnTo>
                    <a:pt x="314" y="218"/>
                  </a:lnTo>
                  <a:lnTo>
                    <a:pt x="314" y="218"/>
                  </a:lnTo>
                  <a:lnTo>
                    <a:pt x="306" y="176"/>
                  </a:lnTo>
                  <a:lnTo>
                    <a:pt x="292" y="136"/>
                  </a:lnTo>
                  <a:lnTo>
                    <a:pt x="278" y="102"/>
                  </a:lnTo>
                  <a:lnTo>
                    <a:pt x="260" y="74"/>
                  </a:lnTo>
                  <a:lnTo>
                    <a:pt x="250" y="62"/>
                  </a:lnTo>
                  <a:lnTo>
                    <a:pt x="238" y="50"/>
                  </a:lnTo>
                  <a:lnTo>
                    <a:pt x="228" y="40"/>
                  </a:lnTo>
                  <a:lnTo>
                    <a:pt x="218" y="32"/>
                  </a:lnTo>
                  <a:lnTo>
                    <a:pt x="206" y="26"/>
                  </a:lnTo>
                  <a:lnTo>
                    <a:pt x="194" y="22"/>
                  </a:lnTo>
                  <a:lnTo>
                    <a:pt x="182" y="18"/>
                  </a:lnTo>
                  <a:lnTo>
                    <a:pt x="170" y="18"/>
                  </a:lnTo>
                  <a:lnTo>
                    <a:pt x="170" y="18"/>
                  </a:lnTo>
                  <a:lnTo>
                    <a:pt x="154" y="20"/>
                  </a:lnTo>
                  <a:lnTo>
                    <a:pt x="140" y="24"/>
                  </a:lnTo>
                  <a:lnTo>
                    <a:pt x="124" y="30"/>
                  </a:lnTo>
                  <a:lnTo>
                    <a:pt x="110" y="40"/>
                  </a:lnTo>
                  <a:lnTo>
                    <a:pt x="98" y="52"/>
                  </a:lnTo>
                  <a:lnTo>
                    <a:pt x="84" y="66"/>
                  </a:lnTo>
                  <a:lnTo>
                    <a:pt x="74" y="84"/>
                  </a:lnTo>
                  <a:lnTo>
                    <a:pt x="62" y="102"/>
                  </a:lnTo>
                  <a:lnTo>
                    <a:pt x="52" y="122"/>
                  </a:lnTo>
                  <a:lnTo>
                    <a:pt x="44" y="144"/>
                  </a:lnTo>
                  <a:lnTo>
                    <a:pt x="36" y="168"/>
                  </a:lnTo>
                  <a:lnTo>
                    <a:pt x="30" y="192"/>
                  </a:lnTo>
                  <a:lnTo>
                    <a:pt x="24" y="218"/>
                  </a:lnTo>
                  <a:lnTo>
                    <a:pt x="20" y="246"/>
                  </a:lnTo>
                  <a:lnTo>
                    <a:pt x="18" y="274"/>
                  </a:lnTo>
                  <a:lnTo>
                    <a:pt x="18" y="304"/>
                  </a:lnTo>
                  <a:lnTo>
                    <a:pt x="18" y="304"/>
                  </a:lnTo>
                  <a:lnTo>
                    <a:pt x="18" y="334"/>
                  </a:lnTo>
                  <a:lnTo>
                    <a:pt x="20" y="362"/>
                  </a:lnTo>
                  <a:lnTo>
                    <a:pt x="24" y="388"/>
                  </a:lnTo>
                  <a:lnTo>
                    <a:pt x="30" y="416"/>
                  </a:lnTo>
                  <a:lnTo>
                    <a:pt x="36" y="440"/>
                  </a:lnTo>
                  <a:lnTo>
                    <a:pt x="44" y="464"/>
                  </a:lnTo>
                  <a:lnTo>
                    <a:pt x="52" y="486"/>
                  </a:lnTo>
                  <a:lnTo>
                    <a:pt x="62" y="506"/>
                  </a:lnTo>
                  <a:lnTo>
                    <a:pt x="74" y="524"/>
                  </a:lnTo>
                  <a:lnTo>
                    <a:pt x="84" y="540"/>
                  </a:lnTo>
                  <a:lnTo>
                    <a:pt x="98" y="556"/>
                  </a:lnTo>
                  <a:lnTo>
                    <a:pt x="110" y="568"/>
                  </a:lnTo>
                  <a:lnTo>
                    <a:pt x="124" y="576"/>
                  </a:lnTo>
                  <a:lnTo>
                    <a:pt x="140" y="584"/>
                  </a:lnTo>
                  <a:lnTo>
                    <a:pt x="154" y="588"/>
                  </a:lnTo>
                  <a:lnTo>
                    <a:pt x="170" y="590"/>
                  </a:lnTo>
                  <a:lnTo>
                    <a:pt x="170" y="590"/>
                  </a:lnTo>
                  <a:lnTo>
                    <a:pt x="188" y="588"/>
                  </a:lnTo>
                  <a:lnTo>
                    <a:pt x="206" y="582"/>
                  </a:lnTo>
                  <a:lnTo>
                    <a:pt x="224" y="570"/>
                  </a:lnTo>
                  <a:lnTo>
                    <a:pt x="242" y="556"/>
                  </a:lnTo>
                  <a:lnTo>
                    <a:pt x="248" y="550"/>
                  </a:lnTo>
                  <a:lnTo>
                    <a:pt x="260" y="562"/>
                  </a:lnTo>
                  <a:lnTo>
                    <a:pt x="254" y="568"/>
                  </a:lnTo>
                  <a:lnTo>
                    <a:pt x="254" y="568"/>
                  </a:lnTo>
                  <a:lnTo>
                    <a:pt x="234" y="586"/>
                  </a:lnTo>
                  <a:lnTo>
                    <a:pt x="214" y="598"/>
                  </a:lnTo>
                  <a:lnTo>
                    <a:pt x="202" y="602"/>
                  </a:lnTo>
                  <a:lnTo>
                    <a:pt x="192" y="606"/>
                  </a:lnTo>
                  <a:lnTo>
                    <a:pt x="180" y="608"/>
                  </a:lnTo>
                  <a:lnTo>
                    <a:pt x="170" y="608"/>
                  </a:lnTo>
                  <a:lnTo>
                    <a:pt x="170" y="6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Rectangle 66">
              <a:extLst>
                <a:ext uri="{FF2B5EF4-FFF2-40B4-BE49-F238E27FC236}">
                  <a16:creationId xmlns:a16="http://schemas.microsoft.com/office/drawing/2014/main" id="{4F2F6B09-F6E3-47B3-A8A9-3F32057145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43" y="933"/>
              <a:ext cx="18" cy="60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Rectangle 67">
              <a:extLst>
                <a:ext uri="{FF2B5EF4-FFF2-40B4-BE49-F238E27FC236}">
                  <a16:creationId xmlns:a16="http://schemas.microsoft.com/office/drawing/2014/main" id="{550F3BAC-7C20-4E47-91DC-4A8592A49E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95" y="1085"/>
              <a:ext cx="440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Rectangle 68">
              <a:extLst>
                <a:ext uri="{FF2B5EF4-FFF2-40B4-BE49-F238E27FC236}">
                  <a16:creationId xmlns:a16="http://schemas.microsoft.com/office/drawing/2014/main" id="{32F9FF16-4DF9-4892-9BE5-09A4FE43BD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93" y="1371"/>
              <a:ext cx="296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Rectangle 69">
              <a:extLst>
                <a:ext uri="{FF2B5EF4-FFF2-40B4-BE49-F238E27FC236}">
                  <a16:creationId xmlns:a16="http://schemas.microsoft.com/office/drawing/2014/main" id="{86D4EB87-5ABE-42C5-BF94-3778617959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9" y="1227"/>
              <a:ext cx="386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55F2D5A6-A603-401E-B995-68F70A078BF0}"/>
              </a:ext>
            </a:extLst>
          </p:cNvPr>
          <p:cNvGrpSpPr/>
          <p:nvPr/>
        </p:nvGrpSpPr>
        <p:grpSpPr>
          <a:xfrm>
            <a:off x="6628511" y="1805238"/>
            <a:ext cx="241628" cy="283957"/>
            <a:chOff x="2981325" y="4597400"/>
            <a:chExt cx="901700" cy="1228725"/>
          </a:xfrm>
          <a:solidFill>
            <a:schemeClr val="bg1"/>
          </a:solidFill>
        </p:grpSpPr>
        <p:sp>
          <p:nvSpPr>
            <p:cNvPr id="112" name="Freeform 123">
              <a:extLst>
                <a:ext uri="{FF2B5EF4-FFF2-40B4-BE49-F238E27FC236}">
                  <a16:creationId xmlns:a16="http://schemas.microsoft.com/office/drawing/2014/main" id="{8877EA6F-4F8C-487A-A72F-5DD64E949D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48000" y="4676775"/>
              <a:ext cx="765175" cy="1079500"/>
            </a:xfrm>
            <a:custGeom>
              <a:avLst/>
              <a:gdLst>
                <a:gd name="T0" fmla="*/ 146 w 482"/>
                <a:gd name="T1" fmla="*/ 460 h 680"/>
                <a:gd name="T2" fmla="*/ 114 w 482"/>
                <a:gd name="T3" fmla="*/ 444 h 680"/>
                <a:gd name="T4" fmla="*/ 72 w 482"/>
                <a:gd name="T5" fmla="*/ 412 h 680"/>
                <a:gd name="T6" fmla="*/ 40 w 482"/>
                <a:gd name="T7" fmla="*/ 372 h 680"/>
                <a:gd name="T8" fmla="*/ 16 w 482"/>
                <a:gd name="T9" fmla="*/ 326 h 680"/>
                <a:gd name="T10" fmla="*/ 4 w 482"/>
                <a:gd name="T11" fmla="*/ 276 h 680"/>
                <a:gd name="T12" fmla="*/ 0 w 482"/>
                <a:gd name="T13" fmla="*/ 240 h 680"/>
                <a:gd name="T14" fmla="*/ 12 w 482"/>
                <a:gd name="T15" fmla="*/ 168 h 680"/>
                <a:gd name="T16" fmla="*/ 42 w 482"/>
                <a:gd name="T17" fmla="*/ 106 h 680"/>
                <a:gd name="T18" fmla="*/ 88 w 482"/>
                <a:gd name="T19" fmla="*/ 54 h 680"/>
                <a:gd name="T20" fmla="*/ 148 w 482"/>
                <a:gd name="T21" fmla="*/ 18 h 680"/>
                <a:gd name="T22" fmla="*/ 218 w 482"/>
                <a:gd name="T23" fmla="*/ 0 h 680"/>
                <a:gd name="T24" fmla="*/ 266 w 482"/>
                <a:gd name="T25" fmla="*/ 0 h 680"/>
                <a:gd name="T26" fmla="*/ 336 w 482"/>
                <a:gd name="T27" fmla="*/ 18 h 680"/>
                <a:gd name="T28" fmla="*/ 394 w 482"/>
                <a:gd name="T29" fmla="*/ 54 h 680"/>
                <a:gd name="T30" fmla="*/ 442 w 482"/>
                <a:gd name="T31" fmla="*/ 106 h 680"/>
                <a:gd name="T32" fmla="*/ 472 w 482"/>
                <a:gd name="T33" fmla="*/ 168 h 680"/>
                <a:gd name="T34" fmla="*/ 482 w 482"/>
                <a:gd name="T35" fmla="*/ 240 h 680"/>
                <a:gd name="T36" fmla="*/ 480 w 482"/>
                <a:gd name="T37" fmla="*/ 276 h 680"/>
                <a:gd name="T38" fmla="*/ 466 w 482"/>
                <a:gd name="T39" fmla="*/ 328 h 680"/>
                <a:gd name="T40" fmla="*/ 442 w 482"/>
                <a:gd name="T41" fmla="*/ 374 h 680"/>
                <a:gd name="T42" fmla="*/ 410 w 482"/>
                <a:gd name="T43" fmla="*/ 414 h 680"/>
                <a:gd name="T44" fmla="*/ 368 w 482"/>
                <a:gd name="T45" fmla="*/ 446 h 680"/>
                <a:gd name="T46" fmla="*/ 336 w 482"/>
                <a:gd name="T47" fmla="*/ 680 h 680"/>
                <a:gd name="T48" fmla="*/ 318 w 482"/>
                <a:gd name="T49" fmla="*/ 450 h 680"/>
                <a:gd name="T50" fmla="*/ 338 w 482"/>
                <a:gd name="T51" fmla="*/ 440 h 680"/>
                <a:gd name="T52" fmla="*/ 382 w 482"/>
                <a:gd name="T53" fmla="*/ 414 h 680"/>
                <a:gd name="T54" fmla="*/ 416 w 482"/>
                <a:gd name="T55" fmla="*/ 378 h 680"/>
                <a:gd name="T56" fmla="*/ 442 w 482"/>
                <a:gd name="T57" fmla="*/ 338 h 680"/>
                <a:gd name="T58" fmla="*/ 458 w 482"/>
                <a:gd name="T59" fmla="*/ 290 h 680"/>
                <a:gd name="T60" fmla="*/ 464 w 482"/>
                <a:gd name="T61" fmla="*/ 240 h 680"/>
                <a:gd name="T62" fmla="*/ 460 w 482"/>
                <a:gd name="T63" fmla="*/ 196 h 680"/>
                <a:gd name="T64" fmla="*/ 438 w 482"/>
                <a:gd name="T65" fmla="*/ 134 h 680"/>
                <a:gd name="T66" fmla="*/ 400 w 482"/>
                <a:gd name="T67" fmla="*/ 82 h 680"/>
                <a:gd name="T68" fmla="*/ 348 w 482"/>
                <a:gd name="T69" fmla="*/ 44 h 680"/>
                <a:gd name="T70" fmla="*/ 286 w 482"/>
                <a:gd name="T71" fmla="*/ 22 h 680"/>
                <a:gd name="T72" fmla="*/ 242 w 482"/>
                <a:gd name="T73" fmla="*/ 18 h 680"/>
                <a:gd name="T74" fmla="*/ 176 w 482"/>
                <a:gd name="T75" fmla="*/ 28 h 680"/>
                <a:gd name="T76" fmla="*/ 118 w 482"/>
                <a:gd name="T77" fmla="*/ 56 h 680"/>
                <a:gd name="T78" fmla="*/ 70 w 482"/>
                <a:gd name="T79" fmla="*/ 98 h 680"/>
                <a:gd name="T80" fmla="*/ 36 w 482"/>
                <a:gd name="T81" fmla="*/ 154 h 680"/>
                <a:gd name="T82" fmla="*/ 20 w 482"/>
                <a:gd name="T83" fmla="*/ 218 h 680"/>
                <a:gd name="T84" fmla="*/ 20 w 482"/>
                <a:gd name="T85" fmla="*/ 256 h 680"/>
                <a:gd name="T86" fmla="*/ 28 w 482"/>
                <a:gd name="T87" fmla="*/ 306 h 680"/>
                <a:gd name="T88" fmla="*/ 56 w 482"/>
                <a:gd name="T89" fmla="*/ 364 h 680"/>
                <a:gd name="T90" fmla="*/ 100 w 482"/>
                <a:gd name="T91" fmla="*/ 412 h 680"/>
                <a:gd name="T92" fmla="*/ 142 w 482"/>
                <a:gd name="T93" fmla="*/ 440 h 680"/>
                <a:gd name="T94" fmla="*/ 164 w 482"/>
                <a:gd name="T95" fmla="*/ 662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82" h="680">
                  <a:moveTo>
                    <a:pt x="336" y="680"/>
                  </a:moveTo>
                  <a:lnTo>
                    <a:pt x="146" y="680"/>
                  </a:lnTo>
                  <a:lnTo>
                    <a:pt x="146" y="460"/>
                  </a:lnTo>
                  <a:lnTo>
                    <a:pt x="146" y="460"/>
                  </a:lnTo>
                  <a:lnTo>
                    <a:pt x="130" y="454"/>
                  </a:lnTo>
                  <a:lnTo>
                    <a:pt x="114" y="444"/>
                  </a:lnTo>
                  <a:lnTo>
                    <a:pt x="100" y="434"/>
                  </a:lnTo>
                  <a:lnTo>
                    <a:pt x="86" y="424"/>
                  </a:lnTo>
                  <a:lnTo>
                    <a:pt x="72" y="412"/>
                  </a:lnTo>
                  <a:lnTo>
                    <a:pt x="60" y="400"/>
                  </a:lnTo>
                  <a:lnTo>
                    <a:pt x="50" y="386"/>
                  </a:lnTo>
                  <a:lnTo>
                    <a:pt x="40" y="372"/>
                  </a:lnTo>
                  <a:lnTo>
                    <a:pt x="32" y="358"/>
                  </a:lnTo>
                  <a:lnTo>
                    <a:pt x="24" y="342"/>
                  </a:lnTo>
                  <a:lnTo>
                    <a:pt x="16" y="326"/>
                  </a:lnTo>
                  <a:lnTo>
                    <a:pt x="12" y="310"/>
                  </a:lnTo>
                  <a:lnTo>
                    <a:pt x="6" y="292"/>
                  </a:lnTo>
                  <a:lnTo>
                    <a:pt x="4" y="276"/>
                  </a:lnTo>
                  <a:lnTo>
                    <a:pt x="2" y="258"/>
                  </a:lnTo>
                  <a:lnTo>
                    <a:pt x="0" y="240"/>
                  </a:lnTo>
                  <a:lnTo>
                    <a:pt x="0" y="240"/>
                  </a:lnTo>
                  <a:lnTo>
                    <a:pt x="2" y="216"/>
                  </a:lnTo>
                  <a:lnTo>
                    <a:pt x="6" y="192"/>
                  </a:lnTo>
                  <a:lnTo>
                    <a:pt x="12" y="168"/>
                  </a:lnTo>
                  <a:lnTo>
                    <a:pt x="20" y="146"/>
                  </a:lnTo>
                  <a:lnTo>
                    <a:pt x="30" y="126"/>
                  </a:lnTo>
                  <a:lnTo>
                    <a:pt x="42" y="106"/>
                  </a:lnTo>
                  <a:lnTo>
                    <a:pt x="56" y="86"/>
                  </a:lnTo>
                  <a:lnTo>
                    <a:pt x="72" y="70"/>
                  </a:lnTo>
                  <a:lnTo>
                    <a:pt x="88" y="54"/>
                  </a:lnTo>
                  <a:lnTo>
                    <a:pt x="108" y="40"/>
                  </a:lnTo>
                  <a:lnTo>
                    <a:pt x="126" y="28"/>
                  </a:lnTo>
                  <a:lnTo>
                    <a:pt x="148" y="18"/>
                  </a:lnTo>
                  <a:lnTo>
                    <a:pt x="170" y="10"/>
                  </a:lnTo>
                  <a:lnTo>
                    <a:pt x="194" y="4"/>
                  </a:lnTo>
                  <a:lnTo>
                    <a:pt x="218" y="0"/>
                  </a:lnTo>
                  <a:lnTo>
                    <a:pt x="242" y="0"/>
                  </a:lnTo>
                  <a:lnTo>
                    <a:pt x="242" y="0"/>
                  </a:lnTo>
                  <a:lnTo>
                    <a:pt x="266" y="0"/>
                  </a:lnTo>
                  <a:lnTo>
                    <a:pt x="290" y="4"/>
                  </a:lnTo>
                  <a:lnTo>
                    <a:pt x="314" y="10"/>
                  </a:lnTo>
                  <a:lnTo>
                    <a:pt x="336" y="18"/>
                  </a:lnTo>
                  <a:lnTo>
                    <a:pt x="356" y="28"/>
                  </a:lnTo>
                  <a:lnTo>
                    <a:pt x="376" y="40"/>
                  </a:lnTo>
                  <a:lnTo>
                    <a:pt x="394" y="54"/>
                  </a:lnTo>
                  <a:lnTo>
                    <a:pt x="412" y="70"/>
                  </a:lnTo>
                  <a:lnTo>
                    <a:pt x="428" y="86"/>
                  </a:lnTo>
                  <a:lnTo>
                    <a:pt x="442" y="106"/>
                  </a:lnTo>
                  <a:lnTo>
                    <a:pt x="454" y="126"/>
                  </a:lnTo>
                  <a:lnTo>
                    <a:pt x="464" y="146"/>
                  </a:lnTo>
                  <a:lnTo>
                    <a:pt x="472" y="168"/>
                  </a:lnTo>
                  <a:lnTo>
                    <a:pt x="478" y="192"/>
                  </a:lnTo>
                  <a:lnTo>
                    <a:pt x="482" y="216"/>
                  </a:lnTo>
                  <a:lnTo>
                    <a:pt x="482" y="240"/>
                  </a:lnTo>
                  <a:lnTo>
                    <a:pt x="482" y="240"/>
                  </a:lnTo>
                  <a:lnTo>
                    <a:pt x="482" y="258"/>
                  </a:lnTo>
                  <a:lnTo>
                    <a:pt x="480" y="276"/>
                  </a:lnTo>
                  <a:lnTo>
                    <a:pt x="476" y="294"/>
                  </a:lnTo>
                  <a:lnTo>
                    <a:pt x="472" y="310"/>
                  </a:lnTo>
                  <a:lnTo>
                    <a:pt x="466" y="328"/>
                  </a:lnTo>
                  <a:lnTo>
                    <a:pt x="460" y="344"/>
                  </a:lnTo>
                  <a:lnTo>
                    <a:pt x="452" y="358"/>
                  </a:lnTo>
                  <a:lnTo>
                    <a:pt x="442" y="374"/>
                  </a:lnTo>
                  <a:lnTo>
                    <a:pt x="432" y="388"/>
                  </a:lnTo>
                  <a:lnTo>
                    <a:pt x="422" y="400"/>
                  </a:lnTo>
                  <a:lnTo>
                    <a:pt x="410" y="414"/>
                  </a:lnTo>
                  <a:lnTo>
                    <a:pt x="396" y="424"/>
                  </a:lnTo>
                  <a:lnTo>
                    <a:pt x="382" y="436"/>
                  </a:lnTo>
                  <a:lnTo>
                    <a:pt x="368" y="446"/>
                  </a:lnTo>
                  <a:lnTo>
                    <a:pt x="352" y="454"/>
                  </a:lnTo>
                  <a:lnTo>
                    <a:pt x="336" y="462"/>
                  </a:lnTo>
                  <a:lnTo>
                    <a:pt x="336" y="680"/>
                  </a:lnTo>
                  <a:close/>
                  <a:moveTo>
                    <a:pt x="164" y="662"/>
                  </a:moveTo>
                  <a:lnTo>
                    <a:pt x="318" y="662"/>
                  </a:lnTo>
                  <a:lnTo>
                    <a:pt x="318" y="450"/>
                  </a:lnTo>
                  <a:lnTo>
                    <a:pt x="324" y="448"/>
                  </a:lnTo>
                  <a:lnTo>
                    <a:pt x="324" y="448"/>
                  </a:lnTo>
                  <a:lnTo>
                    <a:pt x="338" y="440"/>
                  </a:lnTo>
                  <a:lnTo>
                    <a:pt x="354" y="432"/>
                  </a:lnTo>
                  <a:lnTo>
                    <a:pt x="368" y="424"/>
                  </a:lnTo>
                  <a:lnTo>
                    <a:pt x="382" y="414"/>
                  </a:lnTo>
                  <a:lnTo>
                    <a:pt x="394" y="402"/>
                  </a:lnTo>
                  <a:lnTo>
                    <a:pt x="406" y="392"/>
                  </a:lnTo>
                  <a:lnTo>
                    <a:pt x="416" y="378"/>
                  </a:lnTo>
                  <a:lnTo>
                    <a:pt x="426" y="366"/>
                  </a:lnTo>
                  <a:lnTo>
                    <a:pt x="434" y="352"/>
                  </a:lnTo>
                  <a:lnTo>
                    <a:pt x="442" y="338"/>
                  </a:lnTo>
                  <a:lnTo>
                    <a:pt x="450" y="322"/>
                  </a:lnTo>
                  <a:lnTo>
                    <a:pt x="454" y="306"/>
                  </a:lnTo>
                  <a:lnTo>
                    <a:pt x="458" y="290"/>
                  </a:lnTo>
                  <a:lnTo>
                    <a:pt x="462" y="274"/>
                  </a:lnTo>
                  <a:lnTo>
                    <a:pt x="464" y="258"/>
                  </a:lnTo>
                  <a:lnTo>
                    <a:pt x="464" y="240"/>
                  </a:lnTo>
                  <a:lnTo>
                    <a:pt x="464" y="240"/>
                  </a:lnTo>
                  <a:lnTo>
                    <a:pt x="464" y="218"/>
                  </a:lnTo>
                  <a:lnTo>
                    <a:pt x="460" y="196"/>
                  </a:lnTo>
                  <a:lnTo>
                    <a:pt x="454" y="174"/>
                  </a:lnTo>
                  <a:lnTo>
                    <a:pt x="446" y="154"/>
                  </a:lnTo>
                  <a:lnTo>
                    <a:pt x="438" y="134"/>
                  </a:lnTo>
                  <a:lnTo>
                    <a:pt x="426" y="116"/>
                  </a:lnTo>
                  <a:lnTo>
                    <a:pt x="414" y="98"/>
                  </a:lnTo>
                  <a:lnTo>
                    <a:pt x="400" y="82"/>
                  </a:lnTo>
                  <a:lnTo>
                    <a:pt x="384" y="68"/>
                  </a:lnTo>
                  <a:lnTo>
                    <a:pt x="366" y="56"/>
                  </a:lnTo>
                  <a:lnTo>
                    <a:pt x="348" y="44"/>
                  </a:lnTo>
                  <a:lnTo>
                    <a:pt x="328" y="34"/>
                  </a:lnTo>
                  <a:lnTo>
                    <a:pt x="308" y="28"/>
                  </a:lnTo>
                  <a:lnTo>
                    <a:pt x="286" y="22"/>
                  </a:lnTo>
                  <a:lnTo>
                    <a:pt x="264" y="18"/>
                  </a:lnTo>
                  <a:lnTo>
                    <a:pt x="242" y="18"/>
                  </a:lnTo>
                  <a:lnTo>
                    <a:pt x="242" y="18"/>
                  </a:lnTo>
                  <a:lnTo>
                    <a:pt x="218" y="18"/>
                  </a:lnTo>
                  <a:lnTo>
                    <a:pt x="196" y="22"/>
                  </a:lnTo>
                  <a:lnTo>
                    <a:pt x="176" y="28"/>
                  </a:lnTo>
                  <a:lnTo>
                    <a:pt x="154" y="34"/>
                  </a:lnTo>
                  <a:lnTo>
                    <a:pt x="136" y="44"/>
                  </a:lnTo>
                  <a:lnTo>
                    <a:pt x="118" y="56"/>
                  </a:lnTo>
                  <a:lnTo>
                    <a:pt x="100" y="68"/>
                  </a:lnTo>
                  <a:lnTo>
                    <a:pt x="84" y="82"/>
                  </a:lnTo>
                  <a:lnTo>
                    <a:pt x="70" y="98"/>
                  </a:lnTo>
                  <a:lnTo>
                    <a:pt x="56" y="116"/>
                  </a:lnTo>
                  <a:lnTo>
                    <a:pt x="46" y="134"/>
                  </a:lnTo>
                  <a:lnTo>
                    <a:pt x="36" y="154"/>
                  </a:lnTo>
                  <a:lnTo>
                    <a:pt x="28" y="174"/>
                  </a:lnTo>
                  <a:lnTo>
                    <a:pt x="24" y="196"/>
                  </a:lnTo>
                  <a:lnTo>
                    <a:pt x="20" y="218"/>
                  </a:lnTo>
                  <a:lnTo>
                    <a:pt x="18" y="240"/>
                  </a:lnTo>
                  <a:lnTo>
                    <a:pt x="18" y="240"/>
                  </a:lnTo>
                  <a:lnTo>
                    <a:pt x="20" y="256"/>
                  </a:lnTo>
                  <a:lnTo>
                    <a:pt x="22" y="274"/>
                  </a:lnTo>
                  <a:lnTo>
                    <a:pt x="24" y="290"/>
                  </a:lnTo>
                  <a:lnTo>
                    <a:pt x="28" y="306"/>
                  </a:lnTo>
                  <a:lnTo>
                    <a:pt x="34" y="322"/>
                  </a:lnTo>
                  <a:lnTo>
                    <a:pt x="40" y="336"/>
                  </a:lnTo>
                  <a:lnTo>
                    <a:pt x="56" y="364"/>
                  </a:lnTo>
                  <a:lnTo>
                    <a:pt x="76" y="390"/>
                  </a:lnTo>
                  <a:lnTo>
                    <a:pt x="88" y="402"/>
                  </a:lnTo>
                  <a:lnTo>
                    <a:pt x="100" y="412"/>
                  </a:lnTo>
                  <a:lnTo>
                    <a:pt x="114" y="422"/>
                  </a:lnTo>
                  <a:lnTo>
                    <a:pt x="128" y="432"/>
                  </a:lnTo>
                  <a:lnTo>
                    <a:pt x="142" y="440"/>
                  </a:lnTo>
                  <a:lnTo>
                    <a:pt x="158" y="446"/>
                  </a:lnTo>
                  <a:lnTo>
                    <a:pt x="164" y="448"/>
                  </a:lnTo>
                  <a:lnTo>
                    <a:pt x="164" y="66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3" name="Freeform 124">
              <a:extLst>
                <a:ext uri="{FF2B5EF4-FFF2-40B4-BE49-F238E27FC236}">
                  <a16:creationId xmlns:a16="http://schemas.microsoft.com/office/drawing/2014/main" id="{8B62DA84-9AC9-425B-B2CA-7E66FAD8FD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52800" y="5727700"/>
              <a:ext cx="158750" cy="98425"/>
            </a:xfrm>
            <a:custGeom>
              <a:avLst/>
              <a:gdLst>
                <a:gd name="T0" fmla="*/ 74 w 100"/>
                <a:gd name="T1" fmla="*/ 62 h 62"/>
                <a:gd name="T2" fmla="*/ 24 w 100"/>
                <a:gd name="T3" fmla="*/ 62 h 62"/>
                <a:gd name="T4" fmla="*/ 0 w 100"/>
                <a:gd name="T5" fmla="*/ 0 h 62"/>
                <a:gd name="T6" fmla="*/ 100 w 100"/>
                <a:gd name="T7" fmla="*/ 0 h 62"/>
                <a:gd name="T8" fmla="*/ 74 w 100"/>
                <a:gd name="T9" fmla="*/ 62 h 62"/>
                <a:gd name="T10" fmla="*/ 36 w 100"/>
                <a:gd name="T11" fmla="*/ 44 h 62"/>
                <a:gd name="T12" fmla="*/ 62 w 100"/>
                <a:gd name="T13" fmla="*/ 44 h 62"/>
                <a:gd name="T14" fmla="*/ 74 w 100"/>
                <a:gd name="T15" fmla="*/ 18 h 62"/>
                <a:gd name="T16" fmla="*/ 26 w 100"/>
                <a:gd name="T17" fmla="*/ 18 h 62"/>
                <a:gd name="T18" fmla="*/ 36 w 100"/>
                <a:gd name="T19" fmla="*/ 4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0" h="62">
                  <a:moveTo>
                    <a:pt x="74" y="62"/>
                  </a:moveTo>
                  <a:lnTo>
                    <a:pt x="24" y="62"/>
                  </a:lnTo>
                  <a:lnTo>
                    <a:pt x="0" y="0"/>
                  </a:lnTo>
                  <a:lnTo>
                    <a:pt x="100" y="0"/>
                  </a:lnTo>
                  <a:lnTo>
                    <a:pt x="74" y="62"/>
                  </a:lnTo>
                  <a:close/>
                  <a:moveTo>
                    <a:pt x="36" y="44"/>
                  </a:moveTo>
                  <a:lnTo>
                    <a:pt x="62" y="44"/>
                  </a:lnTo>
                  <a:lnTo>
                    <a:pt x="74" y="18"/>
                  </a:lnTo>
                  <a:lnTo>
                    <a:pt x="26" y="18"/>
                  </a:lnTo>
                  <a:lnTo>
                    <a:pt x="36" y="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4" name="Rectangle 125">
              <a:extLst>
                <a:ext uri="{FF2B5EF4-FFF2-40B4-BE49-F238E27FC236}">
                  <a16:creationId xmlns:a16="http://schemas.microsoft.com/office/drawing/2014/main" id="{BB514B4F-71D9-47B3-9387-3D4D166431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6275" y="5505450"/>
              <a:ext cx="428625" cy="285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5" name="Rectangle 126">
              <a:extLst>
                <a:ext uri="{FF2B5EF4-FFF2-40B4-BE49-F238E27FC236}">
                  <a16:creationId xmlns:a16="http://schemas.microsoft.com/office/drawing/2014/main" id="{A2371DC6-AE32-49A6-A82E-5AE6398286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6275" y="5572125"/>
              <a:ext cx="428625" cy="285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6" name="Rectangle 127">
              <a:extLst>
                <a:ext uri="{FF2B5EF4-FFF2-40B4-BE49-F238E27FC236}">
                  <a16:creationId xmlns:a16="http://schemas.microsoft.com/office/drawing/2014/main" id="{FE6E9DD7-3D3B-4F4C-9094-DE2861D0E7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6275" y="5641975"/>
              <a:ext cx="428625" cy="285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7" name="Rectangle 128">
              <a:extLst>
                <a:ext uri="{FF2B5EF4-FFF2-40B4-BE49-F238E27FC236}">
                  <a16:creationId xmlns:a16="http://schemas.microsoft.com/office/drawing/2014/main" id="{33C1541C-3DE4-4C07-9701-CE92519E36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87700" y="4657725"/>
              <a:ext cx="28575" cy="4762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8" name="Rectangle 129">
              <a:extLst>
                <a:ext uri="{FF2B5EF4-FFF2-40B4-BE49-F238E27FC236}">
                  <a16:creationId xmlns:a16="http://schemas.microsoft.com/office/drawing/2014/main" id="{298BB272-4C0B-4834-8025-102381A7EA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32125" y="4803775"/>
              <a:ext cx="28575" cy="444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9" name="Rectangle 130">
              <a:extLst>
                <a:ext uri="{FF2B5EF4-FFF2-40B4-BE49-F238E27FC236}">
                  <a16:creationId xmlns:a16="http://schemas.microsoft.com/office/drawing/2014/main" id="{B37BAAB0-78DB-4041-BE4F-18C1A095AD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16300" y="4597400"/>
              <a:ext cx="28575" cy="444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0" name="Rectangle 131">
              <a:extLst>
                <a:ext uri="{FF2B5EF4-FFF2-40B4-BE49-F238E27FC236}">
                  <a16:creationId xmlns:a16="http://schemas.microsoft.com/office/drawing/2014/main" id="{E518FFEC-44F2-4A8C-A612-706A1388C5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8075" y="4657725"/>
              <a:ext cx="28575" cy="4762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1" name="Rectangle 132">
              <a:extLst>
                <a:ext uri="{FF2B5EF4-FFF2-40B4-BE49-F238E27FC236}">
                  <a16:creationId xmlns:a16="http://schemas.microsoft.com/office/drawing/2014/main" id="{C3BBAD23-DA03-4333-9F0F-CF60A9E17F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0950" y="4803775"/>
              <a:ext cx="28575" cy="444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BE6CA6BC-B75A-4DA7-8CBB-751B85E4BF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32125" y="5260975"/>
              <a:ext cx="28575" cy="444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5154A0D1-0026-4639-8EE4-C566BD48FA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0950" y="5260975"/>
              <a:ext cx="28575" cy="444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0BFAB735-AD6D-454F-9589-D9FF4F4063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450" y="5022850"/>
              <a:ext cx="28575" cy="444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4C85265D-5EC5-4E1A-A6A2-24E88D3F41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1325" y="5022850"/>
              <a:ext cx="28575" cy="444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6" name="Freeform 137">
              <a:extLst>
                <a:ext uri="{FF2B5EF4-FFF2-40B4-BE49-F238E27FC236}">
                  <a16:creationId xmlns:a16="http://schemas.microsoft.com/office/drawing/2014/main" id="{9F6A0B2B-1A8F-4DA7-9CAC-C5CD961F5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9600" y="4772025"/>
              <a:ext cx="565150" cy="762000"/>
            </a:xfrm>
            <a:custGeom>
              <a:avLst/>
              <a:gdLst>
                <a:gd name="T0" fmla="*/ 132 w 356"/>
                <a:gd name="T1" fmla="*/ 350 h 480"/>
                <a:gd name="T2" fmla="*/ 104 w 356"/>
                <a:gd name="T3" fmla="*/ 340 h 480"/>
                <a:gd name="T4" fmla="*/ 56 w 356"/>
                <a:gd name="T5" fmla="*/ 306 h 480"/>
                <a:gd name="T6" fmla="*/ 10 w 356"/>
                <a:gd name="T7" fmla="*/ 236 h 480"/>
                <a:gd name="T8" fmla="*/ 0 w 356"/>
                <a:gd name="T9" fmla="*/ 192 h 480"/>
                <a:gd name="T10" fmla="*/ 0 w 356"/>
                <a:gd name="T11" fmla="*/ 160 h 480"/>
                <a:gd name="T12" fmla="*/ 14 w 356"/>
                <a:gd name="T13" fmla="*/ 108 h 480"/>
                <a:gd name="T14" fmla="*/ 40 w 356"/>
                <a:gd name="T15" fmla="*/ 64 h 480"/>
                <a:gd name="T16" fmla="*/ 78 w 356"/>
                <a:gd name="T17" fmla="*/ 30 h 480"/>
                <a:gd name="T18" fmla="*/ 124 w 356"/>
                <a:gd name="T19" fmla="*/ 8 h 480"/>
                <a:gd name="T20" fmla="*/ 178 w 356"/>
                <a:gd name="T21" fmla="*/ 0 h 480"/>
                <a:gd name="T22" fmla="*/ 214 w 356"/>
                <a:gd name="T23" fmla="*/ 4 h 480"/>
                <a:gd name="T24" fmla="*/ 262 w 356"/>
                <a:gd name="T25" fmla="*/ 20 h 480"/>
                <a:gd name="T26" fmla="*/ 304 w 356"/>
                <a:gd name="T27" fmla="*/ 52 h 480"/>
                <a:gd name="T28" fmla="*/ 334 w 356"/>
                <a:gd name="T29" fmla="*/ 92 h 480"/>
                <a:gd name="T30" fmla="*/ 352 w 356"/>
                <a:gd name="T31" fmla="*/ 142 h 480"/>
                <a:gd name="T32" fmla="*/ 356 w 356"/>
                <a:gd name="T33" fmla="*/ 178 h 480"/>
                <a:gd name="T34" fmla="*/ 350 w 356"/>
                <a:gd name="T35" fmla="*/ 222 h 480"/>
                <a:gd name="T36" fmla="*/ 318 w 356"/>
                <a:gd name="T37" fmla="*/ 286 h 480"/>
                <a:gd name="T38" fmla="*/ 264 w 356"/>
                <a:gd name="T39" fmla="*/ 332 h 480"/>
                <a:gd name="T40" fmla="*/ 222 w 356"/>
                <a:gd name="T41" fmla="*/ 350 h 480"/>
                <a:gd name="T42" fmla="*/ 204 w 356"/>
                <a:gd name="T43" fmla="*/ 342 h 480"/>
                <a:gd name="T44" fmla="*/ 212 w 356"/>
                <a:gd name="T45" fmla="*/ 334 h 480"/>
                <a:gd name="T46" fmla="*/ 238 w 356"/>
                <a:gd name="T47" fmla="*/ 324 h 480"/>
                <a:gd name="T48" fmla="*/ 302 w 356"/>
                <a:gd name="T49" fmla="*/ 278 h 480"/>
                <a:gd name="T50" fmla="*/ 334 w 356"/>
                <a:gd name="T51" fmla="*/ 204 h 480"/>
                <a:gd name="T52" fmla="*/ 338 w 356"/>
                <a:gd name="T53" fmla="*/ 178 h 480"/>
                <a:gd name="T54" fmla="*/ 330 w 356"/>
                <a:gd name="T55" fmla="*/ 130 h 480"/>
                <a:gd name="T56" fmla="*/ 310 w 356"/>
                <a:gd name="T57" fmla="*/ 88 h 480"/>
                <a:gd name="T58" fmla="*/ 280 w 356"/>
                <a:gd name="T59" fmla="*/ 54 h 480"/>
                <a:gd name="T60" fmla="*/ 240 w 356"/>
                <a:gd name="T61" fmla="*/ 30 h 480"/>
                <a:gd name="T62" fmla="*/ 194 w 356"/>
                <a:gd name="T63" fmla="*/ 18 h 480"/>
                <a:gd name="T64" fmla="*/ 162 w 356"/>
                <a:gd name="T65" fmla="*/ 18 h 480"/>
                <a:gd name="T66" fmla="*/ 116 w 356"/>
                <a:gd name="T67" fmla="*/ 30 h 480"/>
                <a:gd name="T68" fmla="*/ 76 w 356"/>
                <a:gd name="T69" fmla="*/ 54 h 480"/>
                <a:gd name="T70" fmla="*/ 46 w 356"/>
                <a:gd name="T71" fmla="*/ 88 h 480"/>
                <a:gd name="T72" fmla="*/ 26 w 356"/>
                <a:gd name="T73" fmla="*/ 130 h 480"/>
                <a:gd name="T74" fmla="*/ 18 w 356"/>
                <a:gd name="T75" fmla="*/ 178 h 480"/>
                <a:gd name="T76" fmla="*/ 20 w 356"/>
                <a:gd name="T77" fmla="*/ 204 h 480"/>
                <a:gd name="T78" fmla="*/ 54 w 356"/>
                <a:gd name="T79" fmla="*/ 278 h 480"/>
                <a:gd name="T80" fmla="*/ 118 w 356"/>
                <a:gd name="T81" fmla="*/ 324 h 480"/>
                <a:gd name="T82" fmla="*/ 144 w 356"/>
                <a:gd name="T83" fmla="*/ 334 h 480"/>
                <a:gd name="T84" fmla="*/ 150 w 356"/>
                <a:gd name="T85" fmla="*/ 48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56" h="480">
                  <a:moveTo>
                    <a:pt x="150" y="480"/>
                  </a:moveTo>
                  <a:lnTo>
                    <a:pt x="132" y="480"/>
                  </a:lnTo>
                  <a:lnTo>
                    <a:pt x="132" y="350"/>
                  </a:lnTo>
                  <a:lnTo>
                    <a:pt x="132" y="350"/>
                  </a:lnTo>
                  <a:lnTo>
                    <a:pt x="118" y="344"/>
                  </a:lnTo>
                  <a:lnTo>
                    <a:pt x="104" y="340"/>
                  </a:lnTo>
                  <a:lnTo>
                    <a:pt x="92" y="332"/>
                  </a:lnTo>
                  <a:lnTo>
                    <a:pt x="80" y="324"/>
                  </a:lnTo>
                  <a:lnTo>
                    <a:pt x="56" y="306"/>
                  </a:lnTo>
                  <a:lnTo>
                    <a:pt x="38" y="286"/>
                  </a:lnTo>
                  <a:lnTo>
                    <a:pt x="22" y="262"/>
                  </a:lnTo>
                  <a:lnTo>
                    <a:pt x="10" y="236"/>
                  </a:lnTo>
                  <a:lnTo>
                    <a:pt x="6" y="222"/>
                  </a:lnTo>
                  <a:lnTo>
                    <a:pt x="2" y="206"/>
                  </a:lnTo>
                  <a:lnTo>
                    <a:pt x="0" y="192"/>
                  </a:lnTo>
                  <a:lnTo>
                    <a:pt x="0" y="178"/>
                  </a:lnTo>
                  <a:lnTo>
                    <a:pt x="0" y="178"/>
                  </a:lnTo>
                  <a:lnTo>
                    <a:pt x="0" y="160"/>
                  </a:lnTo>
                  <a:lnTo>
                    <a:pt x="4" y="142"/>
                  </a:lnTo>
                  <a:lnTo>
                    <a:pt x="8" y="124"/>
                  </a:lnTo>
                  <a:lnTo>
                    <a:pt x="14" y="108"/>
                  </a:lnTo>
                  <a:lnTo>
                    <a:pt x="22" y="92"/>
                  </a:lnTo>
                  <a:lnTo>
                    <a:pt x="30" y="78"/>
                  </a:lnTo>
                  <a:lnTo>
                    <a:pt x="40" y="64"/>
                  </a:lnTo>
                  <a:lnTo>
                    <a:pt x="52" y="52"/>
                  </a:lnTo>
                  <a:lnTo>
                    <a:pt x="64" y="40"/>
                  </a:lnTo>
                  <a:lnTo>
                    <a:pt x="78" y="30"/>
                  </a:lnTo>
                  <a:lnTo>
                    <a:pt x="94" y="20"/>
                  </a:lnTo>
                  <a:lnTo>
                    <a:pt x="108" y="14"/>
                  </a:lnTo>
                  <a:lnTo>
                    <a:pt x="124" y="8"/>
                  </a:lnTo>
                  <a:lnTo>
                    <a:pt x="142" y="4"/>
                  </a:lnTo>
                  <a:lnTo>
                    <a:pt x="160" y="0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96" y="0"/>
                  </a:lnTo>
                  <a:lnTo>
                    <a:pt x="214" y="4"/>
                  </a:lnTo>
                  <a:lnTo>
                    <a:pt x="230" y="8"/>
                  </a:lnTo>
                  <a:lnTo>
                    <a:pt x="246" y="14"/>
                  </a:lnTo>
                  <a:lnTo>
                    <a:pt x="262" y="20"/>
                  </a:lnTo>
                  <a:lnTo>
                    <a:pt x="276" y="30"/>
                  </a:lnTo>
                  <a:lnTo>
                    <a:pt x="290" y="40"/>
                  </a:lnTo>
                  <a:lnTo>
                    <a:pt x="304" y="52"/>
                  </a:lnTo>
                  <a:lnTo>
                    <a:pt x="314" y="64"/>
                  </a:lnTo>
                  <a:lnTo>
                    <a:pt x="324" y="78"/>
                  </a:lnTo>
                  <a:lnTo>
                    <a:pt x="334" y="92"/>
                  </a:lnTo>
                  <a:lnTo>
                    <a:pt x="342" y="108"/>
                  </a:lnTo>
                  <a:lnTo>
                    <a:pt x="348" y="124"/>
                  </a:lnTo>
                  <a:lnTo>
                    <a:pt x="352" y="142"/>
                  </a:lnTo>
                  <a:lnTo>
                    <a:pt x="354" y="160"/>
                  </a:lnTo>
                  <a:lnTo>
                    <a:pt x="356" y="178"/>
                  </a:lnTo>
                  <a:lnTo>
                    <a:pt x="356" y="178"/>
                  </a:lnTo>
                  <a:lnTo>
                    <a:pt x="354" y="192"/>
                  </a:lnTo>
                  <a:lnTo>
                    <a:pt x="352" y="206"/>
                  </a:lnTo>
                  <a:lnTo>
                    <a:pt x="350" y="222"/>
                  </a:lnTo>
                  <a:lnTo>
                    <a:pt x="346" y="236"/>
                  </a:lnTo>
                  <a:lnTo>
                    <a:pt x="334" y="262"/>
                  </a:lnTo>
                  <a:lnTo>
                    <a:pt x="318" y="286"/>
                  </a:lnTo>
                  <a:lnTo>
                    <a:pt x="298" y="306"/>
                  </a:lnTo>
                  <a:lnTo>
                    <a:pt x="276" y="324"/>
                  </a:lnTo>
                  <a:lnTo>
                    <a:pt x="264" y="332"/>
                  </a:lnTo>
                  <a:lnTo>
                    <a:pt x="250" y="340"/>
                  </a:lnTo>
                  <a:lnTo>
                    <a:pt x="238" y="344"/>
                  </a:lnTo>
                  <a:lnTo>
                    <a:pt x="222" y="350"/>
                  </a:lnTo>
                  <a:lnTo>
                    <a:pt x="222" y="480"/>
                  </a:lnTo>
                  <a:lnTo>
                    <a:pt x="204" y="480"/>
                  </a:lnTo>
                  <a:lnTo>
                    <a:pt x="204" y="342"/>
                  </a:lnTo>
                  <a:lnTo>
                    <a:pt x="204" y="342"/>
                  </a:lnTo>
                  <a:lnTo>
                    <a:pt x="206" y="336"/>
                  </a:lnTo>
                  <a:lnTo>
                    <a:pt x="212" y="334"/>
                  </a:lnTo>
                  <a:lnTo>
                    <a:pt x="212" y="334"/>
                  </a:lnTo>
                  <a:lnTo>
                    <a:pt x="226" y="330"/>
                  </a:lnTo>
                  <a:lnTo>
                    <a:pt x="238" y="324"/>
                  </a:lnTo>
                  <a:lnTo>
                    <a:pt x="262" y="312"/>
                  </a:lnTo>
                  <a:lnTo>
                    <a:pt x="284" y="296"/>
                  </a:lnTo>
                  <a:lnTo>
                    <a:pt x="302" y="278"/>
                  </a:lnTo>
                  <a:lnTo>
                    <a:pt x="316" y="256"/>
                  </a:lnTo>
                  <a:lnTo>
                    <a:pt x="328" y="230"/>
                  </a:lnTo>
                  <a:lnTo>
                    <a:pt x="334" y="204"/>
                  </a:lnTo>
                  <a:lnTo>
                    <a:pt x="336" y="192"/>
                  </a:lnTo>
                  <a:lnTo>
                    <a:pt x="338" y="178"/>
                  </a:lnTo>
                  <a:lnTo>
                    <a:pt x="338" y="178"/>
                  </a:lnTo>
                  <a:lnTo>
                    <a:pt x="336" y="160"/>
                  </a:lnTo>
                  <a:lnTo>
                    <a:pt x="334" y="146"/>
                  </a:lnTo>
                  <a:lnTo>
                    <a:pt x="330" y="130"/>
                  </a:lnTo>
                  <a:lnTo>
                    <a:pt x="324" y="116"/>
                  </a:lnTo>
                  <a:lnTo>
                    <a:pt x="318" y="102"/>
                  </a:lnTo>
                  <a:lnTo>
                    <a:pt x="310" y="88"/>
                  </a:lnTo>
                  <a:lnTo>
                    <a:pt x="300" y="76"/>
                  </a:lnTo>
                  <a:lnTo>
                    <a:pt x="290" y="64"/>
                  </a:lnTo>
                  <a:lnTo>
                    <a:pt x="280" y="54"/>
                  </a:lnTo>
                  <a:lnTo>
                    <a:pt x="266" y="44"/>
                  </a:lnTo>
                  <a:lnTo>
                    <a:pt x="254" y="36"/>
                  </a:lnTo>
                  <a:lnTo>
                    <a:pt x="240" y="30"/>
                  </a:lnTo>
                  <a:lnTo>
                    <a:pt x="226" y="24"/>
                  </a:lnTo>
                  <a:lnTo>
                    <a:pt x="210" y="20"/>
                  </a:lnTo>
                  <a:lnTo>
                    <a:pt x="194" y="18"/>
                  </a:lnTo>
                  <a:lnTo>
                    <a:pt x="178" y="18"/>
                  </a:lnTo>
                  <a:lnTo>
                    <a:pt x="178" y="18"/>
                  </a:lnTo>
                  <a:lnTo>
                    <a:pt x="162" y="18"/>
                  </a:lnTo>
                  <a:lnTo>
                    <a:pt x="146" y="20"/>
                  </a:lnTo>
                  <a:lnTo>
                    <a:pt x="130" y="24"/>
                  </a:lnTo>
                  <a:lnTo>
                    <a:pt x="116" y="30"/>
                  </a:lnTo>
                  <a:lnTo>
                    <a:pt x="102" y="36"/>
                  </a:lnTo>
                  <a:lnTo>
                    <a:pt x="88" y="44"/>
                  </a:lnTo>
                  <a:lnTo>
                    <a:pt x="76" y="54"/>
                  </a:lnTo>
                  <a:lnTo>
                    <a:pt x="64" y="64"/>
                  </a:lnTo>
                  <a:lnTo>
                    <a:pt x="54" y="76"/>
                  </a:lnTo>
                  <a:lnTo>
                    <a:pt x="46" y="88"/>
                  </a:lnTo>
                  <a:lnTo>
                    <a:pt x="38" y="102"/>
                  </a:lnTo>
                  <a:lnTo>
                    <a:pt x="30" y="116"/>
                  </a:lnTo>
                  <a:lnTo>
                    <a:pt x="26" y="130"/>
                  </a:lnTo>
                  <a:lnTo>
                    <a:pt x="22" y="146"/>
                  </a:lnTo>
                  <a:lnTo>
                    <a:pt x="18" y="160"/>
                  </a:lnTo>
                  <a:lnTo>
                    <a:pt x="18" y="178"/>
                  </a:lnTo>
                  <a:lnTo>
                    <a:pt x="18" y="178"/>
                  </a:lnTo>
                  <a:lnTo>
                    <a:pt x="18" y="192"/>
                  </a:lnTo>
                  <a:lnTo>
                    <a:pt x="20" y="204"/>
                  </a:lnTo>
                  <a:lnTo>
                    <a:pt x="28" y="230"/>
                  </a:lnTo>
                  <a:lnTo>
                    <a:pt x="38" y="256"/>
                  </a:lnTo>
                  <a:lnTo>
                    <a:pt x="54" y="278"/>
                  </a:lnTo>
                  <a:lnTo>
                    <a:pt x="72" y="296"/>
                  </a:lnTo>
                  <a:lnTo>
                    <a:pt x="94" y="312"/>
                  </a:lnTo>
                  <a:lnTo>
                    <a:pt x="118" y="324"/>
                  </a:lnTo>
                  <a:lnTo>
                    <a:pt x="130" y="330"/>
                  </a:lnTo>
                  <a:lnTo>
                    <a:pt x="144" y="334"/>
                  </a:lnTo>
                  <a:lnTo>
                    <a:pt x="144" y="334"/>
                  </a:lnTo>
                  <a:lnTo>
                    <a:pt x="148" y="336"/>
                  </a:lnTo>
                  <a:lnTo>
                    <a:pt x="150" y="342"/>
                  </a:lnTo>
                  <a:lnTo>
                    <a:pt x="150" y="4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2F8485A4-EB7C-42A0-85B0-6FAD74D40D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36925" y="5022850"/>
              <a:ext cx="28575" cy="285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28F27B5C-8833-4E71-92A0-386564F258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19475" y="5022850"/>
              <a:ext cx="28575" cy="285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9" name="Rectangle 128">
              <a:extLst>
                <a:ext uri="{FF2B5EF4-FFF2-40B4-BE49-F238E27FC236}">
                  <a16:creationId xmlns:a16="http://schemas.microsoft.com/office/drawing/2014/main" id="{90EA2120-CBFD-4B0E-8055-1DE4919ADD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8850" y="5022850"/>
              <a:ext cx="28575" cy="285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44" name="Rectangle 143">
            <a:extLst>
              <a:ext uri="{FF2B5EF4-FFF2-40B4-BE49-F238E27FC236}">
                <a16:creationId xmlns:a16="http://schemas.microsoft.com/office/drawing/2014/main" id="{5B6EB733-8846-4DA2-9510-064D40917268}"/>
              </a:ext>
            </a:extLst>
          </p:cNvPr>
          <p:cNvSpPr/>
          <p:nvPr/>
        </p:nvSpPr>
        <p:spPr>
          <a:xfrm>
            <a:off x="371223" y="5618710"/>
            <a:ext cx="8375110" cy="523220"/>
          </a:xfrm>
          <a:prstGeom prst="rect">
            <a:avLst/>
          </a:prstGeom>
          <a:ln w="19050">
            <a:solidFill>
              <a:srgbClr val="FFC000"/>
            </a:solidFill>
          </a:ln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2E2E3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Поэтому предлагаются определенные фискальные меры стимулирования развития отрасли</a:t>
            </a:r>
          </a:p>
        </p:txBody>
      </p:sp>
      <p:sp>
        <p:nvSpPr>
          <p:cNvPr id="130" name="Arrow: Right 129">
            <a:extLst>
              <a:ext uri="{FF2B5EF4-FFF2-40B4-BE49-F238E27FC236}">
                <a16:creationId xmlns:a16="http://schemas.microsoft.com/office/drawing/2014/main" id="{4FF9CE4B-2645-423A-9FAB-4743D6C827D5}"/>
              </a:ext>
            </a:extLst>
          </p:cNvPr>
          <p:cNvSpPr/>
          <p:nvPr/>
        </p:nvSpPr>
        <p:spPr>
          <a:xfrm rot="5400000">
            <a:off x="4326282" y="4103366"/>
            <a:ext cx="450510" cy="411163"/>
          </a:xfrm>
          <a:prstGeom prst="rightArrow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33" name="Arrow: Right 132">
            <a:extLst>
              <a:ext uri="{FF2B5EF4-FFF2-40B4-BE49-F238E27FC236}">
                <a16:creationId xmlns:a16="http://schemas.microsoft.com/office/drawing/2014/main" id="{44E3D60B-6286-49FD-9EBF-7B63131876EA}"/>
              </a:ext>
            </a:extLst>
          </p:cNvPr>
          <p:cNvSpPr/>
          <p:nvPr/>
        </p:nvSpPr>
        <p:spPr>
          <a:xfrm rot="5400000">
            <a:off x="4318194" y="5158829"/>
            <a:ext cx="450510" cy="411163"/>
          </a:xfrm>
          <a:prstGeom prst="rightArrow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88862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437B0B-55AA-4169-B99D-62DA4250401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15899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8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437B0B-55AA-4169-B99D-62DA425040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44CEDB7-7466-4AD1-AD70-600A35A167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373948"/>
            <a:ext cx="8229600" cy="590400"/>
          </a:xfrm>
        </p:spPr>
        <p:txBody>
          <a:bodyPr vert="horz"/>
          <a:lstStyle/>
          <a:p>
            <a:r>
              <a:rPr lang="ru-RU" sz="2000" dirty="0">
                <a:latin typeface="Arial" panose="020B0604020202020204" pitchFamily="34" charset="0"/>
              </a:rPr>
              <a:t>Принцип выбора налоговых мер стимулирования</a:t>
            </a:r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FFE1E4-506C-441C-A502-9B3C500EE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Стр.</a:t>
            </a:r>
            <a:r>
              <a:rPr kumimoji="0" lang="en-IN" sz="8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 </a:t>
            </a:r>
            <a:fld id="{F1BC30E3-FFE5-4B91-AA19-87A149EBB9EE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3AFC047-5C84-494D-B10A-8FBEF6ACC96B}"/>
              </a:ext>
            </a:extLst>
          </p:cNvPr>
          <p:cNvSpPr/>
          <p:nvPr/>
        </p:nvSpPr>
        <p:spPr>
          <a:xfrm>
            <a:off x="795390" y="2567313"/>
            <a:ext cx="7889818" cy="553998"/>
          </a:xfrm>
          <a:prstGeom prst="rect">
            <a:avLst/>
          </a:prstGeom>
          <a:ln>
            <a:solidFill>
              <a:srgbClr val="FFC000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lIns="91440" tIns="45720" rIns="91440" bIns="45720" anchor="t">
            <a:spAutoFit/>
          </a:bodyPr>
          <a:lstStyle/>
          <a:p>
            <a:pPr algn="just">
              <a:defRPr/>
            </a:pPr>
            <a:r>
              <a:rPr lang="ru-RU" sz="15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выборе мер, мы ориентировались на меры, которые, не противоречат фискальной политике и отраслевому законодательству Казахстана </a:t>
            </a:r>
            <a:endParaRPr kumimoji="0" lang="en-US" sz="15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AutoShape 41">
            <a:extLst>
              <a:ext uri="{FF2B5EF4-FFF2-40B4-BE49-F238E27FC236}">
                <a16:creationId xmlns:a16="http://schemas.microsoft.com/office/drawing/2014/main" id="{8F35B268-3EAB-468B-B390-076331F808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14692" y="1449955"/>
            <a:ext cx="3570517" cy="675751"/>
          </a:xfrm>
          <a:prstGeom prst="roundRect">
            <a:avLst/>
          </a:prstGeom>
          <a:solidFill>
            <a:srgbClr val="FFE800"/>
          </a:solidFill>
          <a:ln w="12700">
            <a:solidFill>
              <a:schemeClr val="bg2">
                <a:lumMod val="50000"/>
                <a:lumOff val="5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vert="horz" wrap="square" lIns="144000" tIns="45720" rIns="91440" bIns="45720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ru-RU" sz="1500" kern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скальная политика и отраслевое законодательство Канады и Австралии</a:t>
            </a:r>
          </a:p>
        </p:txBody>
      </p:sp>
      <p:sp>
        <p:nvSpPr>
          <p:cNvPr id="14" name="AutoShape 41">
            <a:extLst>
              <a:ext uri="{FF2B5EF4-FFF2-40B4-BE49-F238E27FC236}">
                <a16:creationId xmlns:a16="http://schemas.microsoft.com/office/drawing/2014/main" id="{3F609728-AD4F-4FED-8112-F1B775BAFB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3796" y="1449956"/>
            <a:ext cx="3464420" cy="675752"/>
          </a:xfrm>
          <a:prstGeom prst="roundRect">
            <a:avLst/>
          </a:prstGeom>
          <a:solidFill>
            <a:srgbClr val="FFE800"/>
          </a:solidFill>
          <a:ln w="12700">
            <a:solidFill>
              <a:schemeClr val="bg2">
                <a:lumMod val="50000"/>
                <a:lumOff val="5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vert="horz" wrap="square" lIns="144000" tIns="45720" rIns="91440" bIns="45720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defRPr/>
            </a:pPr>
            <a:r>
              <a:rPr lang="ru-RU" sz="1500" kern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скальная политика и отраслевое законодательство Казахстана</a:t>
            </a:r>
            <a:endParaRPr lang="ru-RU" sz="150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E66AAB3-6DC3-40EB-A30D-31FB722C3E12}"/>
              </a:ext>
            </a:extLst>
          </p:cNvPr>
          <p:cNvSpPr/>
          <p:nvPr/>
        </p:nvSpPr>
        <p:spPr>
          <a:xfrm>
            <a:off x="4087406" y="1541020"/>
            <a:ext cx="1304194" cy="36933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b="0" cap="none" spc="0" dirty="0">
                <a:ln w="0"/>
                <a:solidFill>
                  <a:schemeClr val="bg2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VS</a:t>
            </a:r>
            <a:r>
              <a:rPr lang="ru-RU" b="0" cap="none" spc="0" dirty="0">
                <a:ln w="0"/>
                <a:solidFill>
                  <a:schemeClr val="bg2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sz="4400" b="0" cap="none" spc="0" dirty="0">
              <a:ln w="0"/>
              <a:solidFill>
                <a:schemeClr val="bg2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Graphic 17" descr="Information">
            <a:extLst>
              <a:ext uri="{FF2B5EF4-FFF2-40B4-BE49-F238E27FC236}">
                <a16:creationId xmlns:a16="http://schemas.microsoft.com/office/drawing/2014/main" id="{A293DF60-73E9-418B-8D79-5A5C5E337F32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45125" y="2634876"/>
            <a:ext cx="440102" cy="43343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234959A-BD70-470D-984C-3AE3F18116C5}"/>
              </a:ext>
            </a:extLst>
          </p:cNvPr>
          <p:cNvSpPr txBox="1"/>
          <p:nvPr/>
        </p:nvSpPr>
        <p:spPr>
          <a:xfrm>
            <a:off x="795390" y="3365259"/>
            <a:ext cx="7891412" cy="1015663"/>
          </a:xfrm>
          <a:prstGeom prst="rect">
            <a:avLst/>
          </a:prstGeom>
          <a:noFill/>
          <a:ln w="6350">
            <a:solidFill>
              <a:srgbClr val="FFE600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00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</a:defRPr>
            </a:lvl1pPr>
          </a:lstStyle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DEB908"/>
              </a:buClr>
              <a:buSzPct val="75000"/>
              <a:buFontTx/>
              <a:buNone/>
              <a:tabLst/>
              <a:defRPr/>
            </a:pPr>
            <a:r>
              <a:rPr lang="ru-RU" sz="1500" kern="1200" dirty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</a:t>
            </a:r>
            <a:r>
              <a:rPr kumimoji="0" lang="ru-RU" sz="150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еры стимулирования позволят перевести режим налогообложения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с </a:t>
            </a: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front-loaded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ack-loaded </a:t>
            </a:r>
            <a:r>
              <a:rPr kumimoji="0" lang="ru-RU" sz="150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с целью уменьшения налоговой нагрузки на первых этапах развития с последующим увеличением налоговой нагрузки на более поздних этапах с мультипликативным эффектом. </a:t>
            </a:r>
          </a:p>
        </p:txBody>
      </p:sp>
      <p:pic>
        <p:nvPicPr>
          <p:cNvPr id="15" name="Graphic 14" descr="Information">
            <a:extLst>
              <a:ext uri="{FF2B5EF4-FFF2-40B4-BE49-F238E27FC236}">
                <a16:creationId xmlns:a16="http://schemas.microsoft.com/office/drawing/2014/main" id="{085027D3-3A14-4451-90CD-B3A21CAADB2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45125" y="3564475"/>
            <a:ext cx="440102" cy="433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15445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CF63D7A-ED7F-49A4-9874-A7ECC8FF72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5056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1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CF63D7A-ED7F-49A4-9874-A7ECC8FF72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44CEDB7-7466-4AD1-AD70-600A35A167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265818"/>
            <a:ext cx="8229600" cy="590400"/>
          </a:xfrm>
        </p:spPr>
        <p:txBody>
          <a:bodyPr vert="horz"/>
          <a:lstStyle/>
          <a:p>
            <a:r>
              <a:rPr lang="ru-RU" sz="2000" dirty="0">
                <a:latin typeface="Arial" panose="020B0604020202020204" pitchFamily="34" charset="0"/>
              </a:rPr>
              <a:t>Налоговые меры стимулирования отрасли</a:t>
            </a:r>
            <a:br>
              <a:rPr lang="ru-RU" sz="2000" dirty="0">
                <a:latin typeface="Arial" panose="020B0604020202020204" pitchFamily="34" charset="0"/>
              </a:rPr>
            </a:br>
            <a:r>
              <a:rPr lang="ru-RU" sz="2000" b="0" dirty="0">
                <a:latin typeface="Arial" panose="020B0604020202020204" pitchFamily="34" charset="0"/>
              </a:rPr>
              <a:t>Период геологоразведки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FFE1E4-506C-441C-A502-9B3C500EE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Стр.</a:t>
            </a:r>
            <a:r>
              <a:rPr kumimoji="0" lang="en-IN" sz="8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 </a:t>
            </a:r>
            <a:fld id="{F1BC30E3-FFE5-4B91-AA19-87A149EBB9EE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sp>
        <p:nvSpPr>
          <p:cNvPr id="7" name="Freeform 43">
            <a:extLst>
              <a:ext uri="{FF2B5EF4-FFF2-40B4-BE49-F238E27FC236}">
                <a16:creationId xmlns:a16="http://schemas.microsoft.com/office/drawing/2014/main" id="{B3C932F1-528B-419D-9CF6-88DF268764A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3960" y="1092313"/>
            <a:ext cx="452968" cy="531731"/>
          </a:xfrm>
          <a:custGeom>
            <a:avLst/>
            <a:gdLst>
              <a:gd name="T0" fmla="*/ 2147483647 w 4306"/>
              <a:gd name="T1" fmla="*/ 2147483647 h 4763"/>
              <a:gd name="T2" fmla="*/ 2147483647 w 4306"/>
              <a:gd name="T3" fmla="*/ 2147483647 h 4763"/>
              <a:gd name="T4" fmla="*/ 2147483647 w 4306"/>
              <a:gd name="T5" fmla="*/ 2147483647 h 4763"/>
              <a:gd name="T6" fmla="*/ 2147483647 w 4306"/>
              <a:gd name="T7" fmla="*/ 2147483647 h 4763"/>
              <a:gd name="T8" fmla="*/ 2147483647 w 4306"/>
              <a:gd name="T9" fmla="*/ 2147483647 h 4763"/>
              <a:gd name="T10" fmla="*/ 2147483647 w 4306"/>
              <a:gd name="T11" fmla="*/ 2147483647 h 4763"/>
              <a:gd name="T12" fmla="*/ 2147483647 w 4306"/>
              <a:gd name="T13" fmla="*/ 2147483647 h 4763"/>
              <a:gd name="T14" fmla="*/ 2147483647 w 4306"/>
              <a:gd name="T15" fmla="*/ 2147483647 h 4763"/>
              <a:gd name="T16" fmla="*/ 2147483647 w 4306"/>
              <a:gd name="T17" fmla="*/ 2147483647 h 4763"/>
              <a:gd name="T18" fmla="*/ 2147483647 w 4306"/>
              <a:gd name="T19" fmla="*/ 2147483647 h 4763"/>
              <a:gd name="T20" fmla="*/ 2147483647 w 4306"/>
              <a:gd name="T21" fmla="*/ 2147483647 h 4763"/>
              <a:gd name="T22" fmla="*/ 2147483647 w 4306"/>
              <a:gd name="T23" fmla="*/ 2147483647 h 4763"/>
              <a:gd name="T24" fmla="*/ 2147483647 w 4306"/>
              <a:gd name="T25" fmla="*/ 2147483647 h 4763"/>
              <a:gd name="T26" fmla="*/ 2147483647 w 4306"/>
              <a:gd name="T27" fmla="*/ 2147483647 h 4763"/>
              <a:gd name="T28" fmla="*/ 2147483647 w 4306"/>
              <a:gd name="T29" fmla="*/ 2147483647 h 4763"/>
              <a:gd name="T30" fmla="*/ 2147483647 w 4306"/>
              <a:gd name="T31" fmla="*/ 2147483647 h 4763"/>
              <a:gd name="T32" fmla="*/ 2147483647 w 4306"/>
              <a:gd name="T33" fmla="*/ 2147483647 h 4763"/>
              <a:gd name="T34" fmla="*/ 2147483647 w 4306"/>
              <a:gd name="T35" fmla="*/ 2147483647 h 4763"/>
              <a:gd name="T36" fmla="*/ 2147483647 w 4306"/>
              <a:gd name="T37" fmla="*/ 2147483647 h 4763"/>
              <a:gd name="T38" fmla="*/ 2147483647 w 4306"/>
              <a:gd name="T39" fmla="*/ 2147483647 h 4763"/>
              <a:gd name="T40" fmla="*/ 2147483647 w 4306"/>
              <a:gd name="T41" fmla="*/ 2147483647 h 4763"/>
              <a:gd name="T42" fmla="*/ 2147483647 w 4306"/>
              <a:gd name="T43" fmla="*/ 2147483647 h 4763"/>
              <a:gd name="T44" fmla="*/ 2147483647 w 4306"/>
              <a:gd name="T45" fmla="*/ 2147483647 h 4763"/>
              <a:gd name="T46" fmla="*/ 2147483647 w 4306"/>
              <a:gd name="T47" fmla="*/ 2147483647 h 4763"/>
              <a:gd name="T48" fmla="*/ 2147483647 w 4306"/>
              <a:gd name="T49" fmla="*/ 2147483647 h 4763"/>
              <a:gd name="T50" fmla="*/ 2147483647 w 4306"/>
              <a:gd name="T51" fmla="*/ 2147483647 h 4763"/>
              <a:gd name="T52" fmla="*/ 2147483647 w 4306"/>
              <a:gd name="T53" fmla="*/ 2147483647 h 4763"/>
              <a:gd name="T54" fmla="*/ 2147483647 w 4306"/>
              <a:gd name="T55" fmla="*/ 2147483647 h 4763"/>
              <a:gd name="T56" fmla="*/ 2147483647 w 4306"/>
              <a:gd name="T57" fmla="*/ 2147483647 h 4763"/>
              <a:gd name="T58" fmla="*/ 2147483647 w 4306"/>
              <a:gd name="T59" fmla="*/ 2147483647 h 4763"/>
              <a:gd name="T60" fmla="*/ 2147483647 w 4306"/>
              <a:gd name="T61" fmla="*/ 2147483647 h 4763"/>
              <a:gd name="T62" fmla="*/ 2147483647 w 4306"/>
              <a:gd name="T63" fmla="*/ 2147483647 h 4763"/>
              <a:gd name="T64" fmla="*/ 2147483647 w 4306"/>
              <a:gd name="T65" fmla="*/ 2147483647 h 4763"/>
              <a:gd name="T66" fmla="*/ 2147483647 w 4306"/>
              <a:gd name="T67" fmla="*/ 2147483647 h 4763"/>
              <a:gd name="T68" fmla="*/ 2147483647 w 4306"/>
              <a:gd name="T69" fmla="*/ 2147483647 h 4763"/>
              <a:gd name="T70" fmla="*/ 2147483647 w 4306"/>
              <a:gd name="T71" fmla="*/ 2147483647 h 4763"/>
              <a:gd name="T72" fmla="*/ 2147483647 w 4306"/>
              <a:gd name="T73" fmla="*/ 2147483647 h 4763"/>
              <a:gd name="T74" fmla="*/ 2147483647 w 4306"/>
              <a:gd name="T75" fmla="*/ 2147483647 h 4763"/>
              <a:gd name="T76" fmla="*/ 2147483647 w 4306"/>
              <a:gd name="T77" fmla="*/ 2147483647 h 4763"/>
              <a:gd name="T78" fmla="*/ 2147483647 w 4306"/>
              <a:gd name="T79" fmla="*/ 2147483647 h 4763"/>
              <a:gd name="T80" fmla="*/ 2147483647 w 4306"/>
              <a:gd name="T81" fmla="*/ 2147483647 h 4763"/>
              <a:gd name="T82" fmla="*/ 2147483647 w 4306"/>
              <a:gd name="T83" fmla="*/ 2147483647 h 4763"/>
              <a:gd name="T84" fmla="*/ 2147483647 w 4306"/>
              <a:gd name="T85" fmla="*/ 2147483647 h 4763"/>
              <a:gd name="T86" fmla="*/ 2147483647 w 4306"/>
              <a:gd name="T87" fmla="*/ 2147483647 h 4763"/>
              <a:gd name="T88" fmla="*/ 2147483647 w 4306"/>
              <a:gd name="T89" fmla="*/ 2147483647 h 4763"/>
              <a:gd name="T90" fmla="*/ 2147483647 w 4306"/>
              <a:gd name="T91" fmla="*/ 2147483647 h 4763"/>
              <a:gd name="T92" fmla="*/ 2147483647 w 4306"/>
              <a:gd name="T93" fmla="*/ 2147483647 h 4763"/>
              <a:gd name="T94" fmla="*/ 2147483647 w 4306"/>
              <a:gd name="T95" fmla="*/ 0 h 4763"/>
              <a:gd name="T96" fmla="*/ 2147483647 w 4306"/>
              <a:gd name="T97" fmla="*/ 2147483647 h 4763"/>
              <a:gd name="T98" fmla="*/ 2147483647 w 4306"/>
              <a:gd name="T99" fmla="*/ 2147483647 h 4763"/>
              <a:gd name="T100" fmla="*/ 2147483647 w 4306"/>
              <a:gd name="T101" fmla="*/ 2147483647 h 4763"/>
              <a:gd name="T102" fmla="*/ 2147483647 w 4306"/>
              <a:gd name="T103" fmla="*/ 2147483647 h 4763"/>
              <a:gd name="T104" fmla="*/ 2147483647 w 4306"/>
              <a:gd name="T105" fmla="*/ 2147483647 h 4763"/>
              <a:gd name="T106" fmla="*/ 2147483647 w 4306"/>
              <a:gd name="T107" fmla="*/ 2147483647 h 4763"/>
              <a:gd name="T108" fmla="*/ 2147483647 w 4306"/>
              <a:gd name="T109" fmla="*/ 2147483647 h 4763"/>
              <a:gd name="T110" fmla="*/ 2147483647 w 4306"/>
              <a:gd name="T111" fmla="*/ 2147483647 h 4763"/>
              <a:gd name="T112" fmla="*/ 2147483647 w 4306"/>
              <a:gd name="T113" fmla="*/ 2147483647 h 4763"/>
              <a:gd name="T114" fmla="*/ 2147483647 w 4306"/>
              <a:gd name="T115" fmla="*/ 2147483647 h 4763"/>
              <a:gd name="T116" fmla="*/ 2147483647 w 4306"/>
              <a:gd name="T117" fmla="*/ 2147483647 h 4763"/>
              <a:gd name="T118" fmla="*/ 2147483647 w 4306"/>
              <a:gd name="T119" fmla="*/ 2147483647 h 4763"/>
              <a:gd name="T120" fmla="*/ 2147483647 w 4306"/>
              <a:gd name="T121" fmla="*/ 2147483647 h 4763"/>
              <a:gd name="T122" fmla="*/ 2147483647 w 4306"/>
              <a:gd name="T123" fmla="*/ 2147483647 h 4763"/>
              <a:gd name="T124" fmla="*/ 2147483647 w 4306"/>
              <a:gd name="T125" fmla="*/ 2147483647 h 4763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4306"/>
              <a:gd name="T190" fmla="*/ 0 h 4763"/>
              <a:gd name="T191" fmla="*/ 4306 w 4306"/>
              <a:gd name="T192" fmla="*/ 4763 h 4763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4306" h="4763">
                <a:moveTo>
                  <a:pt x="2440" y="3905"/>
                </a:moveTo>
                <a:lnTo>
                  <a:pt x="2440" y="3905"/>
                </a:lnTo>
                <a:lnTo>
                  <a:pt x="2440" y="3895"/>
                </a:lnTo>
                <a:lnTo>
                  <a:pt x="2442" y="3885"/>
                </a:lnTo>
                <a:lnTo>
                  <a:pt x="2445" y="3877"/>
                </a:lnTo>
                <a:lnTo>
                  <a:pt x="2447" y="3868"/>
                </a:lnTo>
                <a:lnTo>
                  <a:pt x="2452" y="3860"/>
                </a:lnTo>
                <a:lnTo>
                  <a:pt x="2456" y="3852"/>
                </a:lnTo>
                <a:lnTo>
                  <a:pt x="2461" y="3845"/>
                </a:lnTo>
                <a:lnTo>
                  <a:pt x="2467" y="3838"/>
                </a:lnTo>
                <a:lnTo>
                  <a:pt x="2474" y="3832"/>
                </a:lnTo>
                <a:lnTo>
                  <a:pt x="2481" y="3827"/>
                </a:lnTo>
                <a:lnTo>
                  <a:pt x="2489" y="3822"/>
                </a:lnTo>
                <a:lnTo>
                  <a:pt x="2498" y="3818"/>
                </a:lnTo>
                <a:lnTo>
                  <a:pt x="2506" y="3815"/>
                </a:lnTo>
                <a:lnTo>
                  <a:pt x="2514" y="3813"/>
                </a:lnTo>
                <a:lnTo>
                  <a:pt x="2524" y="3811"/>
                </a:lnTo>
                <a:lnTo>
                  <a:pt x="2534" y="3811"/>
                </a:lnTo>
                <a:lnTo>
                  <a:pt x="2544" y="3811"/>
                </a:lnTo>
                <a:lnTo>
                  <a:pt x="2552" y="3813"/>
                </a:lnTo>
                <a:lnTo>
                  <a:pt x="2562" y="3815"/>
                </a:lnTo>
                <a:lnTo>
                  <a:pt x="2570" y="3818"/>
                </a:lnTo>
                <a:lnTo>
                  <a:pt x="2579" y="3822"/>
                </a:lnTo>
                <a:lnTo>
                  <a:pt x="2586" y="3827"/>
                </a:lnTo>
                <a:lnTo>
                  <a:pt x="2594" y="3832"/>
                </a:lnTo>
                <a:lnTo>
                  <a:pt x="2600" y="3838"/>
                </a:lnTo>
                <a:lnTo>
                  <a:pt x="2606" y="3845"/>
                </a:lnTo>
                <a:lnTo>
                  <a:pt x="2612" y="3852"/>
                </a:lnTo>
                <a:lnTo>
                  <a:pt x="2616" y="3860"/>
                </a:lnTo>
                <a:lnTo>
                  <a:pt x="2620" y="3868"/>
                </a:lnTo>
                <a:lnTo>
                  <a:pt x="2623" y="3877"/>
                </a:lnTo>
                <a:lnTo>
                  <a:pt x="2626" y="3885"/>
                </a:lnTo>
                <a:lnTo>
                  <a:pt x="2627" y="3895"/>
                </a:lnTo>
                <a:lnTo>
                  <a:pt x="2627" y="3905"/>
                </a:lnTo>
                <a:lnTo>
                  <a:pt x="2627" y="3915"/>
                </a:lnTo>
                <a:lnTo>
                  <a:pt x="2626" y="3923"/>
                </a:lnTo>
                <a:lnTo>
                  <a:pt x="2623" y="3933"/>
                </a:lnTo>
                <a:lnTo>
                  <a:pt x="2620" y="3941"/>
                </a:lnTo>
                <a:lnTo>
                  <a:pt x="2616" y="3949"/>
                </a:lnTo>
                <a:lnTo>
                  <a:pt x="2612" y="3956"/>
                </a:lnTo>
                <a:lnTo>
                  <a:pt x="2606" y="3965"/>
                </a:lnTo>
                <a:lnTo>
                  <a:pt x="2600" y="3970"/>
                </a:lnTo>
                <a:lnTo>
                  <a:pt x="2594" y="3977"/>
                </a:lnTo>
                <a:lnTo>
                  <a:pt x="2586" y="3983"/>
                </a:lnTo>
                <a:lnTo>
                  <a:pt x="2579" y="3987"/>
                </a:lnTo>
                <a:lnTo>
                  <a:pt x="2570" y="3991"/>
                </a:lnTo>
                <a:lnTo>
                  <a:pt x="2562" y="3994"/>
                </a:lnTo>
                <a:lnTo>
                  <a:pt x="2552" y="3997"/>
                </a:lnTo>
                <a:lnTo>
                  <a:pt x="2544" y="3998"/>
                </a:lnTo>
                <a:lnTo>
                  <a:pt x="2534" y="3998"/>
                </a:lnTo>
                <a:lnTo>
                  <a:pt x="2524" y="3998"/>
                </a:lnTo>
                <a:lnTo>
                  <a:pt x="2514" y="3997"/>
                </a:lnTo>
                <a:lnTo>
                  <a:pt x="2506" y="3994"/>
                </a:lnTo>
                <a:lnTo>
                  <a:pt x="2498" y="3991"/>
                </a:lnTo>
                <a:lnTo>
                  <a:pt x="2489" y="3987"/>
                </a:lnTo>
                <a:lnTo>
                  <a:pt x="2481" y="3983"/>
                </a:lnTo>
                <a:lnTo>
                  <a:pt x="2474" y="3977"/>
                </a:lnTo>
                <a:lnTo>
                  <a:pt x="2467" y="3970"/>
                </a:lnTo>
                <a:lnTo>
                  <a:pt x="2461" y="3965"/>
                </a:lnTo>
                <a:lnTo>
                  <a:pt x="2456" y="3956"/>
                </a:lnTo>
                <a:lnTo>
                  <a:pt x="2452" y="3949"/>
                </a:lnTo>
                <a:lnTo>
                  <a:pt x="2447" y="3941"/>
                </a:lnTo>
                <a:lnTo>
                  <a:pt x="2445" y="3933"/>
                </a:lnTo>
                <a:lnTo>
                  <a:pt x="2442" y="3923"/>
                </a:lnTo>
                <a:lnTo>
                  <a:pt x="2440" y="3915"/>
                </a:lnTo>
                <a:lnTo>
                  <a:pt x="2440" y="3905"/>
                </a:lnTo>
                <a:close/>
                <a:moveTo>
                  <a:pt x="2136" y="3905"/>
                </a:moveTo>
                <a:lnTo>
                  <a:pt x="2136" y="3905"/>
                </a:lnTo>
                <a:lnTo>
                  <a:pt x="2136" y="3895"/>
                </a:lnTo>
                <a:lnTo>
                  <a:pt x="2138" y="3885"/>
                </a:lnTo>
                <a:lnTo>
                  <a:pt x="2140" y="3877"/>
                </a:lnTo>
                <a:lnTo>
                  <a:pt x="2143" y="3868"/>
                </a:lnTo>
                <a:lnTo>
                  <a:pt x="2147" y="3860"/>
                </a:lnTo>
                <a:lnTo>
                  <a:pt x="2153" y="3852"/>
                </a:lnTo>
                <a:lnTo>
                  <a:pt x="2157" y="3845"/>
                </a:lnTo>
                <a:lnTo>
                  <a:pt x="2164" y="3838"/>
                </a:lnTo>
                <a:lnTo>
                  <a:pt x="2170" y="3832"/>
                </a:lnTo>
                <a:lnTo>
                  <a:pt x="2178" y="3827"/>
                </a:lnTo>
                <a:lnTo>
                  <a:pt x="2185" y="3822"/>
                </a:lnTo>
                <a:lnTo>
                  <a:pt x="2193" y="3818"/>
                </a:lnTo>
                <a:lnTo>
                  <a:pt x="2202" y="3815"/>
                </a:lnTo>
                <a:lnTo>
                  <a:pt x="2212" y="3813"/>
                </a:lnTo>
                <a:lnTo>
                  <a:pt x="2220" y="3811"/>
                </a:lnTo>
                <a:lnTo>
                  <a:pt x="2230" y="3811"/>
                </a:lnTo>
                <a:lnTo>
                  <a:pt x="2240" y="3811"/>
                </a:lnTo>
                <a:lnTo>
                  <a:pt x="2249" y="3813"/>
                </a:lnTo>
                <a:lnTo>
                  <a:pt x="2258" y="3815"/>
                </a:lnTo>
                <a:lnTo>
                  <a:pt x="2266" y="3818"/>
                </a:lnTo>
                <a:lnTo>
                  <a:pt x="2274" y="3822"/>
                </a:lnTo>
                <a:lnTo>
                  <a:pt x="2283" y="3827"/>
                </a:lnTo>
                <a:lnTo>
                  <a:pt x="2290" y="3832"/>
                </a:lnTo>
                <a:lnTo>
                  <a:pt x="2297" y="3838"/>
                </a:lnTo>
                <a:lnTo>
                  <a:pt x="2302" y="3845"/>
                </a:lnTo>
                <a:lnTo>
                  <a:pt x="2308" y="3852"/>
                </a:lnTo>
                <a:lnTo>
                  <a:pt x="2312" y="3860"/>
                </a:lnTo>
                <a:lnTo>
                  <a:pt x="2316" y="3868"/>
                </a:lnTo>
                <a:lnTo>
                  <a:pt x="2319" y="3877"/>
                </a:lnTo>
                <a:lnTo>
                  <a:pt x="2322" y="3885"/>
                </a:lnTo>
                <a:lnTo>
                  <a:pt x="2323" y="3895"/>
                </a:lnTo>
                <a:lnTo>
                  <a:pt x="2323" y="3905"/>
                </a:lnTo>
                <a:lnTo>
                  <a:pt x="2323" y="3915"/>
                </a:lnTo>
                <a:lnTo>
                  <a:pt x="2322" y="3923"/>
                </a:lnTo>
                <a:lnTo>
                  <a:pt x="2319" y="3933"/>
                </a:lnTo>
                <a:lnTo>
                  <a:pt x="2316" y="3941"/>
                </a:lnTo>
                <a:lnTo>
                  <a:pt x="2312" y="3949"/>
                </a:lnTo>
                <a:lnTo>
                  <a:pt x="2308" y="3956"/>
                </a:lnTo>
                <a:lnTo>
                  <a:pt x="2302" y="3965"/>
                </a:lnTo>
                <a:lnTo>
                  <a:pt x="2297" y="3970"/>
                </a:lnTo>
                <a:lnTo>
                  <a:pt x="2290" y="3977"/>
                </a:lnTo>
                <a:lnTo>
                  <a:pt x="2283" y="3983"/>
                </a:lnTo>
                <a:lnTo>
                  <a:pt x="2274" y="3987"/>
                </a:lnTo>
                <a:lnTo>
                  <a:pt x="2266" y="3991"/>
                </a:lnTo>
                <a:lnTo>
                  <a:pt x="2258" y="3994"/>
                </a:lnTo>
                <a:lnTo>
                  <a:pt x="2249" y="3997"/>
                </a:lnTo>
                <a:lnTo>
                  <a:pt x="2240" y="3998"/>
                </a:lnTo>
                <a:lnTo>
                  <a:pt x="2230" y="3998"/>
                </a:lnTo>
                <a:lnTo>
                  <a:pt x="2220" y="3998"/>
                </a:lnTo>
                <a:lnTo>
                  <a:pt x="2212" y="3997"/>
                </a:lnTo>
                <a:lnTo>
                  <a:pt x="2202" y="3994"/>
                </a:lnTo>
                <a:lnTo>
                  <a:pt x="2193" y="3991"/>
                </a:lnTo>
                <a:lnTo>
                  <a:pt x="2185" y="3987"/>
                </a:lnTo>
                <a:lnTo>
                  <a:pt x="2178" y="3983"/>
                </a:lnTo>
                <a:lnTo>
                  <a:pt x="2170" y="3977"/>
                </a:lnTo>
                <a:lnTo>
                  <a:pt x="2164" y="3970"/>
                </a:lnTo>
                <a:lnTo>
                  <a:pt x="2157" y="3965"/>
                </a:lnTo>
                <a:lnTo>
                  <a:pt x="2153" y="3956"/>
                </a:lnTo>
                <a:lnTo>
                  <a:pt x="2147" y="3949"/>
                </a:lnTo>
                <a:lnTo>
                  <a:pt x="2143" y="3941"/>
                </a:lnTo>
                <a:lnTo>
                  <a:pt x="2140" y="3933"/>
                </a:lnTo>
                <a:lnTo>
                  <a:pt x="2138" y="3923"/>
                </a:lnTo>
                <a:lnTo>
                  <a:pt x="2136" y="3915"/>
                </a:lnTo>
                <a:lnTo>
                  <a:pt x="2136" y="3905"/>
                </a:lnTo>
                <a:close/>
                <a:moveTo>
                  <a:pt x="1832" y="3905"/>
                </a:moveTo>
                <a:lnTo>
                  <a:pt x="1832" y="3905"/>
                </a:lnTo>
                <a:lnTo>
                  <a:pt x="1833" y="3895"/>
                </a:lnTo>
                <a:lnTo>
                  <a:pt x="1835" y="3885"/>
                </a:lnTo>
                <a:lnTo>
                  <a:pt x="1836" y="3877"/>
                </a:lnTo>
                <a:lnTo>
                  <a:pt x="1840" y="3868"/>
                </a:lnTo>
                <a:lnTo>
                  <a:pt x="1843" y="3860"/>
                </a:lnTo>
                <a:lnTo>
                  <a:pt x="1849" y="3852"/>
                </a:lnTo>
                <a:lnTo>
                  <a:pt x="1854" y="3845"/>
                </a:lnTo>
                <a:lnTo>
                  <a:pt x="1860" y="3838"/>
                </a:lnTo>
                <a:lnTo>
                  <a:pt x="1867" y="3832"/>
                </a:lnTo>
                <a:lnTo>
                  <a:pt x="1874" y="3827"/>
                </a:lnTo>
                <a:lnTo>
                  <a:pt x="1881" y="3822"/>
                </a:lnTo>
                <a:lnTo>
                  <a:pt x="1889" y="3818"/>
                </a:lnTo>
                <a:lnTo>
                  <a:pt x="1898" y="3815"/>
                </a:lnTo>
                <a:lnTo>
                  <a:pt x="1907" y="3813"/>
                </a:lnTo>
                <a:lnTo>
                  <a:pt x="1917" y="3811"/>
                </a:lnTo>
                <a:lnTo>
                  <a:pt x="1926" y="3811"/>
                </a:lnTo>
                <a:lnTo>
                  <a:pt x="1935" y="3811"/>
                </a:lnTo>
                <a:lnTo>
                  <a:pt x="1945" y="3813"/>
                </a:lnTo>
                <a:lnTo>
                  <a:pt x="1953" y="3815"/>
                </a:lnTo>
                <a:lnTo>
                  <a:pt x="1963" y="3818"/>
                </a:lnTo>
                <a:lnTo>
                  <a:pt x="1970" y="3822"/>
                </a:lnTo>
                <a:lnTo>
                  <a:pt x="1979" y="3827"/>
                </a:lnTo>
                <a:lnTo>
                  <a:pt x="1986" y="3832"/>
                </a:lnTo>
                <a:lnTo>
                  <a:pt x="1993" y="3838"/>
                </a:lnTo>
                <a:lnTo>
                  <a:pt x="1998" y="3845"/>
                </a:lnTo>
                <a:lnTo>
                  <a:pt x="2004" y="3852"/>
                </a:lnTo>
                <a:lnTo>
                  <a:pt x="2008" y="3860"/>
                </a:lnTo>
                <a:lnTo>
                  <a:pt x="2012" y="3868"/>
                </a:lnTo>
                <a:lnTo>
                  <a:pt x="2016" y="3877"/>
                </a:lnTo>
                <a:lnTo>
                  <a:pt x="2018" y="3885"/>
                </a:lnTo>
                <a:lnTo>
                  <a:pt x="2019" y="3895"/>
                </a:lnTo>
                <a:lnTo>
                  <a:pt x="2020" y="3905"/>
                </a:lnTo>
                <a:lnTo>
                  <a:pt x="2019" y="3915"/>
                </a:lnTo>
                <a:lnTo>
                  <a:pt x="2018" y="3923"/>
                </a:lnTo>
                <a:lnTo>
                  <a:pt x="2016" y="3933"/>
                </a:lnTo>
                <a:lnTo>
                  <a:pt x="2012" y="3941"/>
                </a:lnTo>
                <a:lnTo>
                  <a:pt x="2008" y="3949"/>
                </a:lnTo>
                <a:lnTo>
                  <a:pt x="2004" y="3956"/>
                </a:lnTo>
                <a:lnTo>
                  <a:pt x="1998" y="3965"/>
                </a:lnTo>
                <a:lnTo>
                  <a:pt x="1993" y="3970"/>
                </a:lnTo>
                <a:lnTo>
                  <a:pt x="1986" y="3977"/>
                </a:lnTo>
                <a:lnTo>
                  <a:pt x="1979" y="3983"/>
                </a:lnTo>
                <a:lnTo>
                  <a:pt x="1970" y="3987"/>
                </a:lnTo>
                <a:lnTo>
                  <a:pt x="1963" y="3991"/>
                </a:lnTo>
                <a:lnTo>
                  <a:pt x="1953" y="3994"/>
                </a:lnTo>
                <a:lnTo>
                  <a:pt x="1945" y="3997"/>
                </a:lnTo>
                <a:lnTo>
                  <a:pt x="1935" y="3998"/>
                </a:lnTo>
                <a:lnTo>
                  <a:pt x="1926" y="3998"/>
                </a:lnTo>
                <a:lnTo>
                  <a:pt x="1917" y="3998"/>
                </a:lnTo>
                <a:lnTo>
                  <a:pt x="1907" y="3997"/>
                </a:lnTo>
                <a:lnTo>
                  <a:pt x="1898" y="3994"/>
                </a:lnTo>
                <a:lnTo>
                  <a:pt x="1889" y="3991"/>
                </a:lnTo>
                <a:lnTo>
                  <a:pt x="1881" y="3987"/>
                </a:lnTo>
                <a:lnTo>
                  <a:pt x="1874" y="3983"/>
                </a:lnTo>
                <a:lnTo>
                  <a:pt x="1867" y="3977"/>
                </a:lnTo>
                <a:lnTo>
                  <a:pt x="1860" y="3970"/>
                </a:lnTo>
                <a:lnTo>
                  <a:pt x="1854" y="3965"/>
                </a:lnTo>
                <a:lnTo>
                  <a:pt x="1849" y="3956"/>
                </a:lnTo>
                <a:lnTo>
                  <a:pt x="1843" y="3949"/>
                </a:lnTo>
                <a:lnTo>
                  <a:pt x="1840" y="3941"/>
                </a:lnTo>
                <a:lnTo>
                  <a:pt x="1836" y="3933"/>
                </a:lnTo>
                <a:lnTo>
                  <a:pt x="1835" y="3923"/>
                </a:lnTo>
                <a:lnTo>
                  <a:pt x="1833" y="3915"/>
                </a:lnTo>
                <a:lnTo>
                  <a:pt x="1832" y="3905"/>
                </a:lnTo>
                <a:close/>
                <a:moveTo>
                  <a:pt x="1529" y="3905"/>
                </a:moveTo>
                <a:lnTo>
                  <a:pt x="1529" y="3905"/>
                </a:lnTo>
                <a:lnTo>
                  <a:pt x="1529" y="3895"/>
                </a:lnTo>
                <a:lnTo>
                  <a:pt x="1531" y="3885"/>
                </a:lnTo>
                <a:lnTo>
                  <a:pt x="1533" y="3877"/>
                </a:lnTo>
                <a:lnTo>
                  <a:pt x="1536" y="3868"/>
                </a:lnTo>
                <a:lnTo>
                  <a:pt x="1540" y="3860"/>
                </a:lnTo>
                <a:lnTo>
                  <a:pt x="1545" y="3852"/>
                </a:lnTo>
                <a:lnTo>
                  <a:pt x="1550" y="3845"/>
                </a:lnTo>
                <a:lnTo>
                  <a:pt x="1556" y="3838"/>
                </a:lnTo>
                <a:lnTo>
                  <a:pt x="1563" y="3832"/>
                </a:lnTo>
                <a:lnTo>
                  <a:pt x="1570" y="3827"/>
                </a:lnTo>
                <a:lnTo>
                  <a:pt x="1578" y="3822"/>
                </a:lnTo>
                <a:lnTo>
                  <a:pt x="1586" y="3818"/>
                </a:lnTo>
                <a:lnTo>
                  <a:pt x="1595" y="3815"/>
                </a:lnTo>
                <a:lnTo>
                  <a:pt x="1603" y="3813"/>
                </a:lnTo>
                <a:lnTo>
                  <a:pt x="1613" y="3811"/>
                </a:lnTo>
                <a:lnTo>
                  <a:pt x="1623" y="3811"/>
                </a:lnTo>
                <a:lnTo>
                  <a:pt x="1633" y="3811"/>
                </a:lnTo>
                <a:lnTo>
                  <a:pt x="1641" y="3813"/>
                </a:lnTo>
                <a:lnTo>
                  <a:pt x="1651" y="3815"/>
                </a:lnTo>
                <a:lnTo>
                  <a:pt x="1659" y="3818"/>
                </a:lnTo>
                <a:lnTo>
                  <a:pt x="1667" y="3822"/>
                </a:lnTo>
                <a:lnTo>
                  <a:pt x="1674" y="3827"/>
                </a:lnTo>
                <a:lnTo>
                  <a:pt x="1681" y="3832"/>
                </a:lnTo>
                <a:lnTo>
                  <a:pt x="1688" y="3838"/>
                </a:lnTo>
                <a:lnTo>
                  <a:pt x="1694" y="3845"/>
                </a:lnTo>
                <a:lnTo>
                  <a:pt x="1700" y="3852"/>
                </a:lnTo>
                <a:lnTo>
                  <a:pt x="1705" y="3860"/>
                </a:lnTo>
                <a:lnTo>
                  <a:pt x="1709" y="3868"/>
                </a:lnTo>
                <a:lnTo>
                  <a:pt x="1712" y="3877"/>
                </a:lnTo>
                <a:lnTo>
                  <a:pt x="1713" y="3885"/>
                </a:lnTo>
                <a:lnTo>
                  <a:pt x="1715" y="3895"/>
                </a:lnTo>
                <a:lnTo>
                  <a:pt x="1716" y="3905"/>
                </a:lnTo>
                <a:lnTo>
                  <a:pt x="1715" y="3915"/>
                </a:lnTo>
                <a:lnTo>
                  <a:pt x="1713" y="3923"/>
                </a:lnTo>
                <a:lnTo>
                  <a:pt x="1712" y="3933"/>
                </a:lnTo>
                <a:lnTo>
                  <a:pt x="1709" y="3941"/>
                </a:lnTo>
                <a:lnTo>
                  <a:pt x="1705" y="3949"/>
                </a:lnTo>
                <a:lnTo>
                  <a:pt x="1700" y="3956"/>
                </a:lnTo>
                <a:lnTo>
                  <a:pt x="1694" y="3965"/>
                </a:lnTo>
                <a:lnTo>
                  <a:pt x="1688" y="3970"/>
                </a:lnTo>
                <a:lnTo>
                  <a:pt x="1681" y="3977"/>
                </a:lnTo>
                <a:lnTo>
                  <a:pt x="1674" y="3983"/>
                </a:lnTo>
                <a:lnTo>
                  <a:pt x="1667" y="3987"/>
                </a:lnTo>
                <a:lnTo>
                  <a:pt x="1659" y="3991"/>
                </a:lnTo>
                <a:lnTo>
                  <a:pt x="1651" y="3994"/>
                </a:lnTo>
                <a:lnTo>
                  <a:pt x="1641" y="3997"/>
                </a:lnTo>
                <a:lnTo>
                  <a:pt x="1633" y="3998"/>
                </a:lnTo>
                <a:lnTo>
                  <a:pt x="1623" y="3998"/>
                </a:lnTo>
                <a:lnTo>
                  <a:pt x="1613" y="3998"/>
                </a:lnTo>
                <a:lnTo>
                  <a:pt x="1603" y="3997"/>
                </a:lnTo>
                <a:lnTo>
                  <a:pt x="1595" y="3994"/>
                </a:lnTo>
                <a:lnTo>
                  <a:pt x="1586" y="3991"/>
                </a:lnTo>
                <a:lnTo>
                  <a:pt x="1578" y="3987"/>
                </a:lnTo>
                <a:lnTo>
                  <a:pt x="1570" y="3983"/>
                </a:lnTo>
                <a:lnTo>
                  <a:pt x="1563" y="3977"/>
                </a:lnTo>
                <a:lnTo>
                  <a:pt x="1556" y="3970"/>
                </a:lnTo>
                <a:lnTo>
                  <a:pt x="1550" y="3965"/>
                </a:lnTo>
                <a:lnTo>
                  <a:pt x="1545" y="3956"/>
                </a:lnTo>
                <a:lnTo>
                  <a:pt x="1540" y="3949"/>
                </a:lnTo>
                <a:lnTo>
                  <a:pt x="1536" y="3941"/>
                </a:lnTo>
                <a:lnTo>
                  <a:pt x="1533" y="3933"/>
                </a:lnTo>
                <a:lnTo>
                  <a:pt x="1531" y="3923"/>
                </a:lnTo>
                <a:lnTo>
                  <a:pt x="1529" y="3915"/>
                </a:lnTo>
                <a:lnTo>
                  <a:pt x="1529" y="3905"/>
                </a:lnTo>
                <a:close/>
                <a:moveTo>
                  <a:pt x="1529" y="797"/>
                </a:moveTo>
                <a:lnTo>
                  <a:pt x="1529" y="797"/>
                </a:lnTo>
                <a:lnTo>
                  <a:pt x="1529" y="787"/>
                </a:lnTo>
                <a:lnTo>
                  <a:pt x="1531" y="777"/>
                </a:lnTo>
                <a:lnTo>
                  <a:pt x="1533" y="769"/>
                </a:lnTo>
                <a:lnTo>
                  <a:pt x="1536" y="761"/>
                </a:lnTo>
                <a:lnTo>
                  <a:pt x="1540" y="752"/>
                </a:lnTo>
                <a:lnTo>
                  <a:pt x="1545" y="744"/>
                </a:lnTo>
                <a:lnTo>
                  <a:pt x="1550" y="737"/>
                </a:lnTo>
                <a:lnTo>
                  <a:pt x="1556" y="730"/>
                </a:lnTo>
                <a:lnTo>
                  <a:pt x="1563" y="724"/>
                </a:lnTo>
                <a:lnTo>
                  <a:pt x="1570" y="719"/>
                </a:lnTo>
                <a:lnTo>
                  <a:pt x="1578" y="715"/>
                </a:lnTo>
                <a:lnTo>
                  <a:pt x="1586" y="710"/>
                </a:lnTo>
                <a:lnTo>
                  <a:pt x="1595" y="708"/>
                </a:lnTo>
                <a:lnTo>
                  <a:pt x="1603" y="705"/>
                </a:lnTo>
                <a:lnTo>
                  <a:pt x="1613" y="703"/>
                </a:lnTo>
                <a:lnTo>
                  <a:pt x="1623" y="703"/>
                </a:lnTo>
                <a:lnTo>
                  <a:pt x="1633" y="703"/>
                </a:lnTo>
                <a:lnTo>
                  <a:pt x="1641" y="705"/>
                </a:lnTo>
                <a:lnTo>
                  <a:pt x="1651" y="708"/>
                </a:lnTo>
                <a:lnTo>
                  <a:pt x="1659" y="710"/>
                </a:lnTo>
                <a:lnTo>
                  <a:pt x="1667" y="715"/>
                </a:lnTo>
                <a:lnTo>
                  <a:pt x="1674" y="719"/>
                </a:lnTo>
                <a:lnTo>
                  <a:pt x="1681" y="724"/>
                </a:lnTo>
                <a:lnTo>
                  <a:pt x="1688" y="730"/>
                </a:lnTo>
                <a:lnTo>
                  <a:pt x="1694" y="737"/>
                </a:lnTo>
                <a:lnTo>
                  <a:pt x="1700" y="744"/>
                </a:lnTo>
                <a:lnTo>
                  <a:pt x="1705" y="752"/>
                </a:lnTo>
                <a:lnTo>
                  <a:pt x="1709" y="761"/>
                </a:lnTo>
                <a:lnTo>
                  <a:pt x="1712" y="769"/>
                </a:lnTo>
                <a:lnTo>
                  <a:pt x="1713" y="777"/>
                </a:lnTo>
                <a:lnTo>
                  <a:pt x="1715" y="787"/>
                </a:lnTo>
                <a:lnTo>
                  <a:pt x="1716" y="797"/>
                </a:lnTo>
                <a:lnTo>
                  <a:pt x="1715" y="807"/>
                </a:lnTo>
                <a:lnTo>
                  <a:pt x="1713" y="815"/>
                </a:lnTo>
                <a:lnTo>
                  <a:pt x="1712" y="825"/>
                </a:lnTo>
                <a:lnTo>
                  <a:pt x="1709" y="833"/>
                </a:lnTo>
                <a:lnTo>
                  <a:pt x="1705" y="842"/>
                </a:lnTo>
                <a:lnTo>
                  <a:pt x="1700" y="848"/>
                </a:lnTo>
                <a:lnTo>
                  <a:pt x="1694" y="855"/>
                </a:lnTo>
                <a:lnTo>
                  <a:pt x="1688" y="862"/>
                </a:lnTo>
                <a:lnTo>
                  <a:pt x="1681" y="869"/>
                </a:lnTo>
                <a:lnTo>
                  <a:pt x="1674" y="874"/>
                </a:lnTo>
                <a:lnTo>
                  <a:pt x="1667" y="879"/>
                </a:lnTo>
                <a:lnTo>
                  <a:pt x="1659" y="883"/>
                </a:lnTo>
                <a:lnTo>
                  <a:pt x="1651" y="886"/>
                </a:lnTo>
                <a:lnTo>
                  <a:pt x="1641" y="888"/>
                </a:lnTo>
                <a:lnTo>
                  <a:pt x="1633" y="890"/>
                </a:lnTo>
                <a:lnTo>
                  <a:pt x="1623" y="890"/>
                </a:lnTo>
                <a:lnTo>
                  <a:pt x="1613" y="890"/>
                </a:lnTo>
                <a:lnTo>
                  <a:pt x="1603" y="888"/>
                </a:lnTo>
                <a:lnTo>
                  <a:pt x="1595" y="886"/>
                </a:lnTo>
                <a:lnTo>
                  <a:pt x="1586" y="883"/>
                </a:lnTo>
                <a:lnTo>
                  <a:pt x="1578" y="879"/>
                </a:lnTo>
                <a:lnTo>
                  <a:pt x="1570" y="874"/>
                </a:lnTo>
                <a:lnTo>
                  <a:pt x="1563" y="869"/>
                </a:lnTo>
                <a:lnTo>
                  <a:pt x="1556" y="862"/>
                </a:lnTo>
                <a:lnTo>
                  <a:pt x="1550" y="855"/>
                </a:lnTo>
                <a:lnTo>
                  <a:pt x="1545" y="848"/>
                </a:lnTo>
                <a:lnTo>
                  <a:pt x="1540" y="842"/>
                </a:lnTo>
                <a:lnTo>
                  <a:pt x="1536" y="833"/>
                </a:lnTo>
                <a:lnTo>
                  <a:pt x="1533" y="825"/>
                </a:lnTo>
                <a:lnTo>
                  <a:pt x="1531" y="815"/>
                </a:lnTo>
                <a:lnTo>
                  <a:pt x="1529" y="807"/>
                </a:lnTo>
                <a:lnTo>
                  <a:pt x="1529" y="797"/>
                </a:lnTo>
                <a:close/>
                <a:moveTo>
                  <a:pt x="1529" y="1107"/>
                </a:moveTo>
                <a:lnTo>
                  <a:pt x="1529" y="1107"/>
                </a:lnTo>
                <a:lnTo>
                  <a:pt x="1529" y="1097"/>
                </a:lnTo>
                <a:lnTo>
                  <a:pt x="1531" y="1087"/>
                </a:lnTo>
                <a:lnTo>
                  <a:pt x="1533" y="1079"/>
                </a:lnTo>
                <a:lnTo>
                  <a:pt x="1536" y="1070"/>
                </a:lnTo>
                <a:lnTo>
                  <a:pt x="1540" y="1062"/>
                </a:lnTo>
                <a:lnTo>
                  <a:pt x="1545" y="1054"/>
                </a:lnTo>
                <a:lnTo>
                  <a:pt x="1550" y="1047"/>
                </a:lnTo>
                <a:lnTo>
                  <a:pt x="1556" y="1040"/>
                </a:lnTo>
                <a:lnTo>
                  <a:pt x="1563" y="1034"/>
                </a:lnTo>
                <a:lnTo>
                  <a:pt x="1570" y="1029"/>
                </a:lnTo>
                <a:lnTo>
                  <a:pt x="1578" y="1024"/>
                </a:lnTo>
                <a:lnTo>
                  <a:pt x="1586" y="1020"/>
                </a:lnTo>
                <a:lnTo>
                  <a:pt x="1595" y="1017"/>
                </a:lnTo>
                <a:lnTo>
                  <a:pt x="1603" y="1015"/>
                </a:lnTo>
                <a:lnTo>
                  <a:pt x="1613" y="1013"/>
                </a:lnTo>
                <a:lnTo>
                  <a:pt x="1623" y="1013"/>
                </a:lnTo>
                <a:lnTo>
                  <a:pt x="1633" y="1013"/>
                </a:lnTo>
                <a:lnTo>
                  <a:pt x="1641" y="1015"/>
                </a:lnTo>
                <a:lnTo>
                  <a:pt x="1651" y="1017"/>
                </a:lnTo>
                <a:lnTo>
                  <a:pt x="1659" y="1020"/>
                </a:lnTo>
                <a:lnTo>
                  <a:pt x="1667" y="1024"/>
                </a:lnTo>
                <a:lnTo>
                  <a:pt x="1674" y="1029"/>
                </a:lnTo>
                <a:lnTo>
                  <a:pt x="1681" y="1034"/>
                </a:lnTo>
                <a:lnTo>
                  <a:pt x="1688" y="1040"/>
                </a:lnTo>
                <a:lnTo>
                  <a:pt x="1694" y="1047"/>
                </a:lnTo>
                <a:lnTo>
                  <a:pt x="1700" y="1054"/>
                </a:lnTo>
                <a:lnTo>
                  <a:pt x="1705" y="1062"/>
                </a:lnTo>
                <a:lnTo>
                  <a:pt x="1709" y="1070"/>
                </a:lnTo>
                <a:lnTo>
                  <a:pt x="1712" y="1079"/>
                </a:lnTo>
                <a:lnTo>
                  <a:pt x="1713" y="1087"/>
                </a:lnTo>
                <a:lnTo>
                  <a:pt x="1715" y="1097"/>
                </a:lnTo>
                <a:lnTo>
                  <a:pt x="1716" y="1107"/>
                </a:lnTo>
                <a:lnTo>
                  <a:pt x="1715" y="1116"/>
                </a:lnTo>
                <a:lnTo>
                  <a:pt x="1713" y="1125"/>
                </a:lnTo>
                <a:lnTo>
                  <a:pt x="1712" y="1135"/>
                </a:lnTo>
                <a:lnTo>
                  <a:pt x="1709" y="1143"/>
                </a:lnTo>
                <a:lnTo>
                  <a:pt x="1705" y="1151"/>
                </a:lnTo>
                <a:lnTo>
                  <a:pt x="1700" y="1158"/>
                </a:lnTo>
                <a:lnTo>
                  <a:pt x="1694" y="1167"/>
                </a:lnTo>
                <a:lnTo>
                  <a:pt x="1688" y="1172"/>
                </a:lnTo>
                <a:lnTo>
                  <a:pt x="1681" y="1179"/>
                </a:lnTo>
                <a:lnTo>
                  <a:pt x="1674" y="1185"/>
                </a:lnTo>
                <a:lnTo>
                  <a:pt x="1667" y="1189"/>
                </a:lnTo>
                <a:lnTo>
                  <a:pt x="1659" y="1193"/>
                </a:lnTo>
                <a:lnTo>
                  <a:pt x="1651" y="1196"/>
                </a:lnTo>
                <a:lnTo>
                  <a:pt x="1641" y="1199"/>
                </a:lnTo>
                <a:lnTo>
                  <a:pt x="1633" y="1200"/>
                </a:lnTo>
                <a:lnTo>
                  <a:pt x="1623" y="1200"/>
                </a:lnTo>
                <a:lnTo>
                  <a:pt x="1613" y="1200"/>
                </a:lnTo>
                <a:lnTo>
                  <a:pt x="1603" y="1199"/>
                </a:lnTo>
                <a:lnTo>
                  <a:pt x="1595" y="1196"/>
                </a:lnTo>
                <a:lnTo>
                  <a:pt x="1586" y="1193"/>
                </a:lnTo>
                <a:lnTo>
                  <a:pt x="1578" y="1189"/>
                </a:lnTo>
                <a:lnTo>
                  <a:pt x="1570" y="1185"/>
                </a:lnTo>
                <a:lnTo>
                  <a:pt x="1563" y="1179"/>
                </a:lnTo>
                <a:lnTo>
                  <a:pt x="1556" y="1172"/>
                </a:lnTo>
                <a:lnTo>
                  <a:pt x="1550" y="1167"/>
                </a:lnTo>
                <a:lnTo>
                  <a:pt x="1545" y="1158"/>
                </a:lnTo>
                <a:lnTo>
                  <a:pt x="1540" y="1151"/>
                </a:lnTo>
                <a:lnTo>
                  <a:pt x="1536" y="1143"/>
                </a:lnTo>
                <a:lnTo>
                  <a:pt x="1533" y="1135"/>
                </a:lnTo>
                <a:lnTo>
                  <a:pt x="1531" y="1125"/>
                </a:lnTo>
                <a:lnTo>
                  <a:pt x="1529" y="1116"/>
                </a:lnTo>
                <a:lnTo>
                  <a:pt x="1529" y="1107"/>
                </a:lnTo>
                <a:close/>
                <a:moveTo>
                  <a:pt x="1835" y="487"/>
                </a:moveTo>
                <a:lnTo>
                  <a:pt x="1835" y="487"/>
                </a:lnTo>
                <a:lnTo>
                  <a:pt x="1836" y="477"/>
                </a:lnTo>
                <a:lnTo>
                  <a:pt x="1838" y="468"/>
                </a:lnTo>
                <a:lnTo>
                  <a:pt x="1839" y="459"/>
                </a:lnTo>
                <a:lnTo>
                  <a:pt x="1843" y="449"/>
                </a:lnTo>
                <a:lnTo>
                  <a:pt x="1846" y="442"/>
                </a:lnTo>
                <a:lnTo>
                  <a:pt x="1852" y="434"/>
                </a:lnTo>
                <a:lnTo>
                  <a:pt x="1857" y="427"/>
                </a:lnTo>
                <a:lnTo>
                  <a:pt x="1863" y="420"/>
                </a:lnTo>
                <a:lnTo>
                  <a:pt x="1870" y="414"/>
                </a:lnTo>
                <a:lnTo>
                  <a:pt x="1877" y="409"/>
                </a:lnTo>
                <a:lnTo>
                  <a:pt x="1884" y="405"/>
                </a:lnTo>
                <a:lnTo>
                  <a:pt x="1892" y="401"/>
                </a:lnTo>
                <a:lnTo>
                  <a:pt x="1902" y="396"/>
                </a:lnTo>
                <a:lnTo>
                  <a:pt x="1910" y="395"/>
                </a:lnTo>
                <a:lnTo>
                  <a:pt x="1920" y="394"/>
                </a:lnTo>
                <a:lnTo>
                  <a:pt x="1930" y="392"/>
                </a:lnTo>
                <a:lnTo>
                  <a:pt x="1938" y="394"/>
                </a:lnTo>
                <a:lnTo>
                  <a:pt x="1948" y="395"/>
                </a:lnTo>
                <a:lnTo>
                  <a:pt x="1956" y="396"/>
                </a:lnTo>
                <a:lnTo>
                  <a:pt x="1966" y="401"/>
                </a:lnTo>
                <a:lnTo>
                  <a:pt x="1974" y="405"/>
                </a:lnTo>
                <a:lnTo>
                  <a:pt x="1981" y="409"/>
                </a:lnTo>
                <a:lnTo>
                  <a:pt x="1988" y="414"/>
                </a:lnTo>
                <a:lnTo>
                  <a:pt x="1995" y="420"/>
                </a:lnTo>
                <a:lnTo>
                  <a:pt x="2001" y="427"/>
                </a:lnTo>
                <a:lnTo>
                  <a:pt x="2006" y="434"/>
                </a:lnTo>
                <a:lnTo>
                  <a:pt x="2012" y="442"/>
                </a:lnTo>
                <a:lnTo>
                  <a:pt x="2015" y="449"/>
                </a:lnTo>
                <a:lnTo>
                  <a:pt x="2019" y="459"/>
                </a:lnTo>
                <a:lnTo>
                  <a:pt x="2020" y="468"/>
                </a:lnTo>
                <a:lnTo>
                  <a:pt x="2022" y="477"/>
                </a:lnTo>
                <a:lnTo>
                  <a:pt x="2023" y="487"/>
                </a:lnTo>
                <a:lnTo>
                  <a:pt x="2022" y="495"/>
                </a:lnTo>
                <a:lnTo>
                  <a:pt x="2020" y="505"/>
                </a:lnTo>
                <a:lnTo>
                  <a:pt x="2019" y="515"/>
                </a:lnTo>
                <a:lnTo>
                  <a:pt x="2015" y="523"/>
                </a:lnTo>
                <a:lnTo>
                  <a:pt x="2012" y="532"/>
                </a:lnTo>
                <a:lnTo>
                  <a:pt x="2006" y="539"/>
                </a:lnTo>
                <a:lnTo>
                  <a:pt x="2001" y="546"/>
                </a:lnTo>
                <a:lnTo>
                  <a:pt x="1995" y="553"/>
                </a:lnTo>
                <a:lnTo>
                  <a:pt x="1988" y="558"/>
                </a:lnTo>
                <a:lnTo>
                  <a:pt x="1981" y="564"/>
                </a:lnTo>
                <a:lnTo>
                  <a:pt x="1974" y="569"/>
                </a:lnTo>
                <a:lnTo>
                  <a:pt x="1966" y="572"/>
                </a:lnTo>
                <a:lnTo>
                  <a:pt x="1956" y="576"/>
                </a:lnTo>
                <a:lnTo>
                  <a:pt x="1948" y="578"/>
                </a:lnTo>
                <a:lnTo>
                  <a:pt x="1938" y="579"/>
                </a:lnTo>
                <a:lnTo>
                  <a:pt x="1930" y="581"/>
                </a:lnTo>
                <a:lnTo>
                  <a:pt x="1920" y="579"/>
                </a:lnTo>
                <a:lnTo>
                  <a:pt x="1910" y="578"/>
                </a:lnTo>
                <a:lnTo>
                  <a:pt x="1902" y="576"/>
                </a:lnTo>
                <a:lnTo>
                  <a:pt x="1892" y="572"/>
                </a:lnTo>
                <a:lnTo>
                  <a:pt x="1884" y="569"/>
                </a:lnTo>
                <a:lnTo>
                  <a:pt x="1877" y="564"/>
                </a:lnTo>
                <a:lnTo>
                  <a:pt x="1870" y="558"/>
                </a:lnTo>
                <a:lnTo>
                  <a:pt x="1863" y="553"/>
                </a:lnTo>
                <a:lnTo>
                  <a:pt x="1857" y="546"/>
                </a:lnTo>
                <a:lnTo>
                  <a:pt x="1852" y="539"/>
                </a:lnTo>
                <a:lnTo>
                  <a:pt x="1846" y="532"/>
                </a:lnTo>
                <a:lnTo>
                  <a:pt x="1843" y="523"/>
                </a:lnTo>
                <a:lnTo>
                  <a:pt x="1839" y="515"/>
                </a:lnTo>
                <a:lnTo>
                  <a:pt x="1838" y="505"/>
                </a:lnTo>
                <a:lnTo>
                  <a:pt x="1836" y="495"/>
                </a:lnTo>
                <a:lnTo>
                  <a:pt x="1835" y="487"/>
                </a:lnTo>
                <a:close/>
                <a:moveTo>
                  <a:pt x="2142" y="487"/>
                </a:moveTo>
                <a:lnTo>
                  <a:pt x="2142" y="487"/>
                </a:lnTo>
                <a:lnTo>
                  <a:pt x="2143" y="477"/>
                </a:lnTo>
                <a:lnTo>
                  <a:pt x="2145" y="468"/>
                </a:lnTo>
                <a:lnTo>
                  <a:pt x="2146" y="459"/>
                </a:lnTo>
                <a:lnTo>
                  <a:pt x="2149" y="449"/>
                </a:lnTo>
                <a:lnTo>
                  <a:pt x="2153" y="442"/>
                </a:lnTo>
                <a:lnTo>
                  <a:pt x="2159" y="434"/>
                </a:lnTo>
                <a:lnTo>
                  <a:pt x="2164" y="427"/>
                </a:lnTo>
                <a:lnTo>
                  <a:pt x="2170" y="420"/>
                </a:lnTo>
                <a:lnTo>
                  <a:pt x="2177" y="414"/>
                </a:lnTo>
                <a:lnTo>
                  <a:pt x="2184" y="409"/>
                </a:lnTo>
                <a:lnTo>
                  <a:pt x="2191" y="405"/>
                </a:lnTo>
                <a:lnTo>
                  <a:pt x="2199" y="401"/>
                </a:lnTo>
                <a:lnTo>
                  <a:pt x="2207" y="396"/>
                </a:lnTo>
                <a:lnTo>
                  <a:pt x="2217" y="395"/>
                </a:lnTo>
                <a:lnTo>
                  <a:pt x="2226" y="394"/>
                </a:lnTo>
                <a:lnTo>
                  <a:pt x="2235" y="392"/>
                </a:lnTo>
                <a:lnTo>
                  <a:pt x="2245" y="394"/>
                </a:lnTo>
                <a:lnTo>
                  <a:pt x="2255" y="395"/>
                </a:lnTo>
                <a:lnTo>
                  <a:pt x="2263" y="396"/>
                </a:lnTo>
                <a:lnTo>
                  <a:pt x="2272" y="401"/>
                </a:lnTo>
                <a:lnTo>
                  <a:pt x="2280" y="405"/>
                </a:lnTo>
                <a:lnTo>
                  <a:pt x="2288" y="409"/>
                </a:lnTo>
                <a:lnTo>
                  <a:pt x="2295" y="414"/>
                </a:lnTo>
                <a:lnTo>
                  <a:pt x="2302" y="420"/>
                </a:lnTo>
                <a:lnTo>
                  <a:pt x="2308" y="427"/>
                </a:lnTo>
                <a:lnTo>
                  <a:pt x="2313" y="434"/>
                </a:lnTo>
                <a:lnTo>
                  <a:pt x="2318" y="442"/>
                </a:lnTo>
                <a:lnTo>
                  <a:pt x="2322" y="449"/>
                </a:lnTo>
                <a:lnTo>
                  <a:pt x="2325" y="459"/>
                </a:lnTo>
                <a:lnTo>
                  <a:pt x="2327" y="468"/>
                </a:lnTo>
                <a:lnTo>
                  <a:pt x="2329" y="477"/>
                </a:lnTo>
                <a:lnTo>
                  <a:pt x="2329" y="487"/>
                </a:lnTo>
                <a:lnTo>
                  <a:pt x="2329" y="495"/>
                </a:lnTo>
                <a:lnTo>
                  <a:pt x="2327" y="505"/>
                </a:lnTo>
                <a:lnTo>
                  <a:pt x="2325" y="515"/>
                </a:lnTo>
                <a:lnTo>
                  <a:pt x="2322" y="523"/>
                </a:lnTo>
                <a:lnTo>
                  <a:pt x="2318" y="532"/>
                </a:lnTo>
                <a:lnTo>
                  <a:pt x="2313" y="539"/>
                </a:lnTo>
                <a:lnTo>
                  <a:pt x="2308" y="546"/>
                </a:lnTo>
                <a:lnTo>
                  <a:pt x="2302" y="553"/>
                </a:lnTo>
                <a:lnTo>
                  <a:pt x="2295" y="558"/>
                </a:lnTo>
                <a:lnTo>
                  <a:pt x="2288" y="564"/>
                </a:lnTo>
                <a:lnTo>
                  <a:pt x="2280" y="569"/>
                </a:lnTo>
                <a:lnTo>
                  <a:pt x="2272" y="572"/>
                </a:lnTo>
                <a:lnTo>
                  <a:pt x="2263" y="576"/>
                </a:lnTo>
                <a:lnTo>
                  <a:pt x="2255" y="578"/>
                </a:lnTo>
                <a:lnTo>
                  <a:pt x="2245" y="579"/>
                </a:lnTo>
                <a:lnTo>
                  <a:pt x="2235" y="581"/>
                </a:lnTo>
                <a:lnTo>
                  <a:pt x="2226" y="579"/>
                </a:lnTo>
                <a:lnTo>
                  <a:pt x="2217" y="578"/>
                </a:lnTo>
                <a:lnTo>
                  <a:pt x="2207" y="576"/>
                </a:lnTo>
                <a:lnTo>
                  <a:pt x="2199" y="572"/>
                </a:lnTo>
                <a:lnTo>
                  <a:pt x="2191" y="569"/>
                </a:lnTo>
                <a:lnTo>
                  <a:pt x="2184" y="564"/>
                </a:lnTo>
                <a:lnTo>
                  <a:pt x="2177" y="558"/>
                </a:lnTo>
                <a:lnTo>
                  <a:pt x="2170" y="553"/>
                </a:lnTo>
                <a:lnTo>
                  <a:pt x="2164" y="546"/>
                </a:lnTo>
                <a:lnTo>
                  <a:pt x="2159" y="539"/>
                </a:lnTo>
                <a:lnTo>
                  <a:pt x="2153" y="532"/>
                </a:lnTo>
                <a:lnTo>
                  <a:pt x="2149" y="523"/>
                </a:lnTo>
                <a:lnTo>
                  <a:pt x="2146" y="515"/>
                </a:lnTo>
                <a:lnTo>
                  <a:pt x="2145" y="505"/>
                </a:lnTo>
                <a:lnTo>
                  <a:pt x="2143" y="495"/>
                </a:lnTo>
                <a:lnTo>
                  <a:pt x="2142" y="487"/>
                </a:lnTo>
                <a:close/>
                <a:moveTo>
                  <a:pt x="2449" y="487"/>
                </a:moveTo>
                <a:lnTo>
                  <a:pt x="2449" y="487"/>
                </a:lnTo>
                <a:lnTo>
                  <a:pt x="2449" y="477"/>
                </a:lnTo>
                <a:lnTo>
                  <a:pt x="2450" y="468"/>
                </a:lnTo>
                <a:lnTo>
                  <a:pt x="2453" y="459"/>
                </a:lnTo>
                <a:lnTo>
                  <a:pt x="2456" y="449"/>
                </a:lnTo>
                <a:lnTo>
                  <a:pt x="2460" y="442"/>
                </a:lnTo>
                <a:lnTo>
                  <a:pt x="2464" y="434"/>
                </a:lnTo>
                <a:lnTo>
                  <a:pt x="2470" y="427"/>
                </a:lnTo>
                <a:lnTo>
                  <a:pt x="2477" y="420"/>
                </a:lnTo>
                <a:lnTo>
                  <a:pt x="2482" y="414"/>
                </a:lnTo>
                <a:lnTo>
                  <a:pt x="2491" y="409"/>
                </a:lnTo>
                <a:lnTo>
                  <a:pt x="2498" y="405"/>
                </a:lnTo>
                <a:lnTo>
                  <a:pt x="2506" y="401"/>
                </a:lnTo>
                <a:lnTo>
                  <a:pt x="2514" y="396"/>
                </a:lnTo>
                <a:lnTo>
                  <a:pt x="2524" y="395"/>
                </a:lnTo>
                <a:lnTo>
                  <a:pt x="2533" y="394"/>
                </a:lnTo>
                <a:lnTo>
                  <a:pt x="2542" y="392"/>
                </a:lnTo>
                <a:lnTo>
                  <a:pt x="2552" y="394"/>
                </a:lnTo>
                <a:lnTo>
                  <a:pt x="2562" y="395"/>
                </a:lnTo>
                <a:lnTo>
                  <a:pt x="2570" y="396"/>
                </a:lnTo>
                <a:lnTo>
                  <a:pt x="2579" y="401"/>
                </a:lnTo>
                <a:lnTo>
                  <a:pt x="2587" y="405"/>
                </a:lnTo>
                <a:lnTo>
                  <a:pt x="2595" y="409"/>
                </a:lnTo>
                <a:lnTo>
                  <a:pt x="2602" y="414"/>
                </a:lnTo>
                <a:lnTo>
                  <a:pt x="2609" y="420"/>
                </a:lnTo>
                <a:lnTo>
                  <a:pt x="2615" y="427"/>
                </a:lnTo>
                <a:lnTo>
                  <a:pt x="2620" y="434"/>
                </a:lnTo>
                <a:lnTo>
                  <a:pt x="2625" y="442"/>
                </a:lnTo>
                <a:lnTo>
                  <a:pt x="2629" y="449"/>
                </a:lnTo>
                <a:lnTo>
                  <a:pt x="2632" y="459"/>
                </a:lnTo>
                <a:lnTo>
                  <a:pt x="2634" y="468"/>
                </a:lnTo>
                <a:lnTo>
                  <a:pt x="2636" y="477"/>
                </a:lnTo>
                <a:lnTo>
                  <a:pt x="2636" y="487"/>
                </a:lnTo>
                <a:lnTo>
                  <a:pt x="2636" y="495"/>
                </a:lnTo>
                <a:lnTo>
                  <a:pt x="2634" y="505"/>
                </a:lnTo>
                <a:lnTo>
                  <a:pt x="2632" y="515"/>
                </a:lnTo>
                <a:lnTo>
                  <a:pt x="2629" y="523"/>
                </a:lnTo>
                <a:lnTo>
                  <a:pt x="2625" y="532"/>
                </a:lnTo>
                <a:lnTo>
                  <a:pt x="2620" y="539"/>
                </a:lnTo>
                <a:lnTo>
                  <a:pt x="2615" y="546"/>
                </a:lnTo>
                <a:lnTo>
                  <a:pt x="2609" y="553"/>
                </a:lnTo>
                <a:lnTo>
                  <a:pt x="2602" y="558"/>
                </a:lnTo>
                <a:lnTo>
                  <a:pt x="2595" y="564"/>
                </a:lnTo>
                <a:lnTo>
                  <a:pt x="2587" y="569"/>
                </a:lnTo>
                <a:lnTo>
                  <a:pt x="2579" y="572"/>
                </a:lnTo>
                <a:lnTo>
                  <a:pt x="2570" y="576"/>
                </a:lnTo>
                <a:lnTo>
                  <a:pt x="2562" y="578"/>
                </a:lnTo>
                <a:lnTo>
                  <a:pt x="2552" y="579"/>
                </a:lnTo>
                <a:lnTo>
                  <a:pt x="2542" y="581"/>
                </a:lnTo>
                <a:lnTo>
                  <a:pt x="2533" y="579"/>
                </a:lnTo>
                <a:lnTo>
                  <a:pt x="2524" y="578"/>
                </a:lnTo>
                <a:lnTo>
                  <a:pt x="2514" y="576"/>
                </a:lnTo>
                <a:lnTo>
                  <a:pt x="2506" y="572"/>
                </a:lnTo>
                <a:lnTo>
                  <a:pt x="2498" y="569"/>
                </a:lnTo>
                <a:lnTo>
                  <a:pt x="2491" y="564"/>
                </a:lnTo>
                <a:lnTo>
                  <a:pt x="2482" y="558"/>
                </a:lnTo>
                <a:lnTo>
                  <a:pt x="2477" y="553"/>
                </a:lnTo>
                <a:lnTo>
                  <a:pt x="2470" y="546"/>
                </a:lnTo>
                <a:lnTo>
                  <a:pt x="2464" y="539"/>
                </a:lnTo>
                <a:lnTo>
                  <a:pt x="2460" y="532"/>
                </a:lnTo>
                <a:lnTo>
                  <a:pt x="2456" y="523"/>
                </a:lnTo>
                <a:lnTo>
                  <a:pt x="2453" y="515"/>
                </a:lnTo>
                <a:lnTo>
                  <a:pt x="2450" y="505"/>
                </a:lnTo>
                <a:lnTo>
                  <a:pt x="2449" y="495"/>
                </a:lnTo>
                <a:lnTo>
                  <a:pt x="2449" y="487"/>
                </a:lnTo>
                <a:close/>
                <a:moveTo>
                  <a:pt x="2756" y="487"/>
                </a:moveTo>
                <a:lnTo>
                  <a:pt x="2756" y="487"/>
                </a:lnTo>
                <a:lnTo>
                  <a:pt x="2756" y="477"/>
                </a:lnTo>
                <a:lnTo>
                  <a:pt x="2757" y="468"/>
                </a:lnTo>
                <a:lnTo>
                  <a:pt x="2760" y="459"/>
                </a:lnTo>
                <a:lnTo>
                  <a:pt x="2763" y="449"/>
                </a:lnTo>
                <a:lnTo>
                  <a:pt x="2767" y="442"/>
                </a:lnTo>
                <a:lnTo>
                  <a:pt x="2771" y="434"/>
                </a:lnTo>
                <a:lnTo>
                  <a:pt x="2777" y="427"/>
                </a:lnTo>
                <a:lnTo>
                  <a:pt x="2782" y="420"/>
                </a:lnTo>
                <a:lnTo>
                  <a:pt x="2789" y="414"/>
                </a:lnTo>
                <a:lnTo>
                  <a:pt x="2796" y="409"/>
                </a:lnTo>
                <a:lnTo>
                  <a:pt x="2805" y="405"/>
                </a:lnTo>
                <a:lnTo>
                  <a:pt x="2813" y="401"/>
                </a:lnTo>
                <a:lnTo>
                  <a:pt x="2821" y="396"/>
                </a:lnTo>
                <a:lnTo>
                  <a:pt x="2830" y="395"/>
                </a:lnTo>
                <a:lnTo>
                  <a:pt x="2840" y="394"/>
                </a:lnTo>
                <a:lnTo>
                  <a:pt x="2849" y="392"/>
                </a:lnTo>
                <a:lnTo>
                  <a:pt x="2859" y="394"/>
                </a:lnTo>
                <a:lnTo>
                  <a:pt x="2867" y="395"/>
                </a:lnTo>
                <a:lnTo>
                  <a:pt x="2877" y="396"/>
                </a:lnTo>
                <a:lnTo>
                  <a:pt x="2886" y="401"/>
                </a:lnTo>
                <a:lnTo>
                  <a:pt x="2894" y="405"/>
                </a:lnTo>
                <a:lnTo>
                  <a:pt x="2901" y="409"/>
                </a:lnTo>
                <a:lnTo>
                  <a:pt x="2909" y="414"/>
                </a:lnTo>
                <a:lnTo>
                  <a:pt x="2915" y="420"/>
                </a:lnTo>
                <a:lnTo>
                  <a:pt x="2922" y="427"/>
                </a:lnTo>
                <a:lnTo>
                  <a:pt x="2927" y="434"/>
                </a:lnTo>
                <a:lnTo>
                  <a:pt x="2932" y="442"/>
                </a:lnTo>
                <a:lnTo>
                  <a:pt x="2936" y="449"/>
                </a:lnTo>
                <a:lnTo>
                  <a:pt x="2939" y="459"/>
                </a:lnTo>
                <a:lnTo>
                  <a:pt x="2941" y="468"/>
                </a:lnTo>
                <a:lnTo>
                  <a:pt x="2943" y="477"/>
                </a:lnTo>
                <a:lnTo>
                  <a:pt x="2943" y="487"/>
                </a:lnTo>
                <a:lnTo>
                  <a:pt x="2943" y="495"/>
                </a:lnTo>
                <a:lnTo>
                  <a:pt x="2941" y="505"/>
                </a:lnTo>
                <a:lnTo>
                  <a:pt x="2939" y="515"/>
                </a:lnTo>
                <a:lnTo>
                  <a:pt x="2936" y="523"/>
                </a:lnTo>
                <a:lnTo>
                  <a:pt x="2932" y="532"/>
                </a:lnTo>
                <a:lnTo>
                  <a:pt x="2927" y="539"/>
                </a:lnTo>
                <a:lnTo>
                  <a:pt x="2922" y="546"/>
                </a:lnTo>
                <a:lnTo>
                  <a:pt x="2915" y="553"/>
                </a:lnTo>
                <a:lnTo>
                  <a:pt x="2909" y="558"/>
                </a:lnTo>
                <a:lnTo>
                  <a:pt x="2901" y="564"/>
                </a:lnTo>
                <a:lnTo>
                  <a:pt x="2894" y="569"/>
                </a:lnTo>
                <a:lnTo>
                  <a:pt x="2886" y="572"/>
                </a:lnTo>
                <a:lnTo>
                  <a:pt x="2877" y="576"/>
                </a:lnTo>
                <a:lnTo>
                  <a:pt x="2867" y="578"/>
                </a:lnTo>
                <a:lnTo>
                  <a:pt x="2859" y="579"/>
                </a:lnTo>
                <a:lnTo>
                  <a:pt x="2849" y="581"/>
                </a:lnTo>
                <a:lnTo>
                  <a:pt x="2840" y="579"/>
                </a:lnTo>
                <a:lnTo>
                  <a:pt x="2830" y="578"/>
                </a:lnTo>
                <a:lnTo>
                  <a:pt x="2821" y="576"/>
                </a:lnTo>
                <a:lnTo>
                  <a:pt x="2813" y="572"/>
                </a:lnTo>
                <a:lnTo>
                  <a:pt x="2805" y="569"/>
                </a:lnTo>
                <a:lnTo>
                  <a:pt x="2796" y="564"/>
                </a:lnTo>
                <a:lnTo>
                  <a:pt x="2789" y="558"/>
                </a:lnTo>
                <a:lnTo>
                  <a:pt x="2782" y="553"/>
                </a:lnTo>
                <a:lnTo>
                  <a:pt x="2777" y="546"/>
                </a:lnTo>
                <a:lnTo>
                  <a:pt x="2771" y="539"/>
                </a:lnTo>
                <a:lnTo>
                  <a:pt x="2767" y="532"/>
                </a:lnTo>
                <a:lnTo>
                  <a:pt x="2763" y="523"/>
                </a:lnTo>
                <a:lnTo>
                  <a:pt x="2760" y="515"/>
                </a:lnTo>
                <a:lnTo>
                  <a:pt x="2757" y="505"/>
                </a:lnTo>
                <a:lnTo>
                  <a:pt x="2756" y="495"/>
                </a:lnTo>
                <a:lnTo>
                  <a:pt x="2756" y="487"/>
                </a:lnTo>
                <a:close/>
                <a:moveTo>
                  <a:pt x="3063" y="487"/>
                </a:moveTo>
                <a:lnTo>
                  <a:pt x="3063" y="487"/>
                </a:lnTo>
                <a:lnTo>
                  <a:pt x="3063" y="477"/>
                </a:lnTo>
                <a:lnTo>
                  <a:pt x="3064" y="468"/>
                </a:lnTo>
                <a:lnTo>
                  <a:pt x="3067" y="459"/>
                </a:lnTo>
                <a:lnTo>
                  <a:pt x="3070" y="449"/>
                </a:lnTo>
                <a:lnTo>
                  <a:pt x="3074" y="442"/>
                </a:lnTo>
                <a:lnTo>
                  <a:pt x="3078" y="434"/>
                </a:lnTo>
                <a:lnTo>
                  <a:pt x="3084" y="427"/>
                </a:lnTo>
                <a:lnTo>
                  <a:pt x="3089" y="420"/>
                </a:lnTo>
                <a:lnTo>
                  <a:pt x="3096" y="414"/>
                </a:lnTo>
                <a:lnTo>
                  <a:pt x="3103" y="409"/>
                </a:lnTo>
                <a:lnTo>
                  <a:pt x="3112" y="405"/>
                </a:lnTo>
                <a:lnTo>
                  <a:pt x="3120" y="401"/>
                </a:lnTo>
                <a:lnTo>
                  <a:pt x="3128" y="396"/>
                </a:lnTo>
                <a:lnTo>
                  <a:pt x="3137" y="395"/>
                </a:lnTo>
                <a:lnTo>
                  <a:pt x="3146" y="394"/>
                </a:lnTo>
                <a:lnTo>
                  <a:pt x="3156" y="392"/>
                </a:lnTo>
                <a:lnTo>
                  <a:pt x="3166" y="394"/>
                </a:lnTo>
                <a:lnTo>
                  <a:pt x="3174" y="395"/>
                </a:lnTo>
                <a:lnTo>
                  <a:pt x="3184" y="396"/>
                </a:lnTo>
                <a:lnTo>
                  <a:pt x="3193" y="401"/>
                </a:lnTo>
                <a:lnTo>
                  <a:pt x="3201" y="405"/>
                </a:lnTo>
                <a:lnTo>
                  <a:pt x="3208" y="409"/>
                </a:lnTo>
                <a:lnTo>
                  <a:pt x="3215" y="414"/>
                </a:lnTo>
                <a:lnTo>
                  <a:pt x="3222" y="420"/>
                </a:lnTo>
                <a:lnTo>
                  <a:pt x="3229" y="427"/>
                </a:lnTo>
                <a:lnTo>
                  <a:pt x="3233" y="434"/>
                </a:lnTo>
                <a:lnTo>
                  <a:pt x="3239" y="442"/>
                </a:lnTo>
                <a:lnTo>
                  <a:pt x="3243" y="449"/>
                </a:lnTo>
                <a:lnTo>
                  <a:pt x="3246" y="459"/>
                </a:lnTo>
                <a:lnTo>
                  <a:pt x="3248" y="468"/>
                </a:lnTo>
                <a:lnTo>
                  <a:pt x="3250" y="477"/>
                </a:lnTo>
                <a:lnTo>
                  <a:pt x="3250" y="487"/>
                </a:lnTo>
                <a:lnTo>
                  <a:pt x="3250" y="495"/>
                </a:lnTo>
                <a:lnTo>
                  <a:pt x="3248" y="505"/>
                </a:lnTo>
                <a:lnTo>
                  <a:pt x="3246" y="515"/>
                </a:lnTo>
                <a:lnTo>
                  <a:pt x="3243" y="523"/>
                </a:lnTo>
                <a:lnTo>
                  <a:pt x="3239" y="532"/>
                </a:lnTo>
                <a:lnTo>
                  <a:pt x="3233" y="539"/>
                </a:lnTo>
                <a:lnTo>
                  <a:pt x="3229" y="546"/>
                </a:lnTo>
                <a:lnTo>
                  <a:pt x="3222" y="553"/>
                </a:lnTo>
                <a:lnTo>
                  <a:pt x="3215" y="558"/>
                </a:lnTo>
                <a:lnTo>
                  <a:pt x="3208" y="564"/>
                </a:lnTo>
                <a:lnTo>
                  <a:pt x="3201" y="569"/>
                </a:lnTo>
                <a:lnTo>
                  <a:pt x="3193" y="572"/>
                </a:lnTo>
                <a:lnTo>
                  <a:pt x="3184" y="576"/>
                </a:lnTo>
                <a:lnTo>
                  <a:pt x="3174" y="578"/>
                </a:lnTo>
                <a:lnTo>
                  <a:pt x="3166" y="579"/>
                </a:lnTo>
                <a:lnTo>
                  <a:pt x="3156" y="581"/>
                </a:lnTo>
                <a:lnTo>
                  <a:pt x="3146" y="579"/>
                </a:lnTo>
                <a:lnTo>
                  <a:pt x="3137" y="578"/>
                </a:lnTo>
                <a:lnTo>
                  <a:pt x="3128" y="576"/>
                </a:lnTo>
                <a:lnTo>
                  <a:pt x="3120" y="572"/>
                </a:lnTo>
                <a:lnTo>
                  <a:pt x="3112" y="569"/>
                </a:lnTo>
                <a:lnTo>
                  <a:pt x="3103" y="564"/>
                </a:lnTo>
                <a:lnTo>
                  <a:pt x="3096" y="558"/>
                </a:lnTo>
                <a:lnTo>
                  <a:pt x="3089" y="553"/>
                </a:lnTo>
                <a:lnTo>
                  <a:pt x="3084" y="546"/>
                </a:lnTo>
                <a:lnTo>
                  <a:pt x="3078" y="539"/>
                </a:lnTo>
                <a:lnTo>
                  <a:pt x="3074" y="532"/>
                </a:lnTo>
                <a:lnTo>
                  <a:pt x="3070" y="523"/>
                </a:lnTo>
                <a:lnTo>
                  <a:pt x="3067" y="515"/>
                </a:lnTo>
                <a:lnTo>
                  <a:pt x="3064" y="505"/>
                </a:lnTo>
                <a:lnTo>
                  <a:pt x="3063" y="495"/>
                </a:lnTo>
                <a:lnTo>
                  <a:pt x="3063" y="487"/>
                </a:lnTo>
                <a:close/>
                <a:moveTo>
                  <a:pt x="1529" y="487"/>
                </a:moveTo>
                <a:lnTo>
                  <a:pt x="1529" y="487"/>
                </a:lnTo>
                <a:lnTo>
                  <a:pt x="1529" y="477"/>
                </a:lnTo>
                <a:lnTo>
                  <a:pt x="1531" y="468"/>
                </a:lnTo>
                <a:lnTo>
                  <a:pt x="1533" y="459"/>
                </a:lnTo>
                <a:lnTo>
                  <a:pt x="1536" y="449"/>
                </a:lnTo>
                <a:lnTo>
                  <a:pt x="1540" y="442"/>
                </a:lnTo>
                <a:lnTo>
                  <a:pt x="1545" y="434"/>
                </a:lnTo>
                <a:lnTo>
                  <a:pt x="1550" y="427"/>
                </a:lnTo>
                <a:lnTo>
                  <a:pt x="1556" y="420"/>
                </a:lnTo>
                <a:lnTo>
                  <a:pt x="1563" y="414"/>
                </a:lnTo>
                <a:lnTo>
                  <a:pt x="1570" y="409"/>
                </a:lnTo>
                <a:lnTo>
                  <a:pt x="1578" y="405"/>
                </a:lnTo>
                <a:lnTo>
                  <a:pt x="1586" y="401"/>
                </a:lnTo>
                <a:lnTo>
                  <a:pt x="1595" y="396"/>
                </a:lnTo>
                <a:lnTo>
                  <a:pt x="1603" y="395"/>
                </a:lnTo>
                <a:lnTo>
                  <a:pt x="1613" y="394"/>
                </a:lnTo>
                <a:lnTo>
                  <a:pt x="1623" y="392"/>
                </a:lnTo>
                <a:lnTo>
                  <a:pt x="1633" y="394"/>
                </a:lnTo>
                <a:lnTo>
                  <a:pt x="1641" y="395"/>
                </a:lnTo>
                <a:lnTo>
                  <a:pt x="1651" y="396"/>
                </a:lnTo>
                <a:lnTo>
                  <a:pt x="1659" y="401"/>
                </a:lnTo>
                <a:lnTo>
                  <a:pt x="1667" y="405"/>
                </a:lnTo>
                <a:lnTo>
                  <a:pt x="1674" y="409"/>
                </a:lnTo>
                <a:lnTo>
                  <a:pt x="1681" y="414"/>
                </a:lnTo>
                <a:lnTo>
                  <a:pt x="1688" y="420"/>
                </a:lnTo>
                <a:lnTo>
                  <a:pt x="1694" y="427"/>
                </a:lnTo>
                <a:lnTo>
                  <a:pt x="1700" y="434"/>
                </a:lnTo>
                <a:lnTo>
                  <a:pt x="1705" y="442"/>
                </a:lnTo>
                <a:lnTo>
                  <a:pt x="1709" y="449"/>
                </a:lnTo>
                <a:lnTo>
                  <a:pt x="1712" y="459"/>
                </a:lnTo>
                <a:lnTo>
                  <a:pt x="1713" y="468"/>
                </a:lnTo>
                <a:lnTo>
                  <a:pt x="1715" y="477"/>
                </a:lnTo>
                <a:lnTo>
                  <a:pt x="1716" y="487"/>
                </a:lnTo>
                <a:lnTo>
                  <a:pt x="1715" y="495"/>
                </a:lnTo>
                <a:lnTo>
                  <a:pt x="1713" y="505"/>
                </a:lnTo>
                <a:lnTo>
                  <a:pt x="1712" y="515"/>
                </a:lnTo>
                <a:lnTo>
                  <a:pt x="1709" y="523"/>
                </a:lnTo>
                <a:lnTo>
                  <a:pt x="1705" y="532"/>
                </a:lnTo>
                <a:lnTo>
                  <a:pt x="1700" y="539"/>
                </a:lnTo>
                <a:lnTo>
                  <a:pt x="1694" y="546"/>
                </a:lnTo>
                <a:lnTo>
                  <a:pt x="1688" y="553"/>
                </a:lnTo>
                <a:lnTo>
                  <a:pt x="1681" y="558"/>
                </a:lnTo>
                <a:lnTo>
                  <a:pt x="1674" y="564"/>
                </a:lnTo>
                <a:lnTo>
                  <a:pt x="1667" y="569"/>
                </a:lnTo>
                <a:lnTo>
                  <a:pt x="1659" y="572"/>
                </a:lnTo>
                <a:lnTo>
                  <a:pt x="1651" y="576"/>
                </a:lnTo>
                <a:lnTo>
                  <a:pt x="1641" y="578"/>
                </a:lnTo>
                <a:lnTo>
                  <a:pt x="1633" y="579"/>
                </a:lnTo>
                <a:lnTo>
                  <a:pt x="1623" y="581"/>
                </a:lnTo>
                <a:lnTo>
                  <a:pt x="1613" y="579"/>
                </a:lnTo>
                <a:lnTo>
                  <a:pt x="1603" y="578"/>
                </a:lnTo>
                <a:lnTo>
                  <a:pt x="1595" y="576"/>
                </a:lnTo>
                <a:lnTo>
                  <a:pt x="1586" y="572"/>
                </a:lnTo>
                <a:lnTo>
                  <a:pt x="1578" y="569"/>
                </a:lnTo>
                <a:lnTo>
                  <a:pt x="1570" y="564"/>
                </a:lnTo>
                <a:lnTo>
                  <a:pt x="1563" y="558"/>
                </a:lnTo>
                <a:lnTo>
                  <a:pt x="1556" y="553"/>
                </a:lnTo>
                <a:lnTo>
                  <a:pt x="1550" y="546"/>
                </a:lnTo>
                <a:lnTo>
                  <a:pt x="1545" y="539"/>
                </a:lnTo>
                <a:lnTo>
                  <a:pt x="1540" y="532"/>
                </a:lnTo>
                <a:lnTo>
                  <a:pt x="1536" y="523"/>
                </a:lnTo>
                <a:lnTo>
                  <a:pt x="1533" y="515"/>
                </a:lnTo>
                <a:lnTo>
                  <a:pt x="1531" y="505"/>
                </a:lnTo>
                <a:lnTo>
                  <a:pt x="1529" y="495"/>
                </a:lnTo>
                <a:lnTo>
                  <a:pt x="1529" y="487"/>
                </a:lnTo>
                <a:close/>
                <a:moveTo>
                  <a:pt x="3726" y="1107"/>
                </a:moveTo>
                <a:lnTo>
                  <a:pt x="3726" y="1107"/>
                </a:lnTo>
                <a:lnTo>
                  <a:pt x="3727" y="1097"/>
                </a:lnTo>
                <a:lnTo>
                  <a:pt x="3728" y="1087"/>
                </a:lnTo>
                <a:lnTo>
                  <a:pt x="3730" y="1079"/>
                </a:lnTo>
                <a:lnTo>
                  <a:pt x="3734" y="1070"/>
                </a:lnTo>
                <a:lnTo>
                  <a:pt x="3737" y="1062"/>
                </a:lnTo>
                <a:lnTo>
                  <a:pt x="3742" y="1054"/>
                </a:lnTo>
                <a:lnTo>
                  <a:pt x="3748" y="1047"/>
                </a:lnTo>
                <a:lnTo>
                  <a:pt x="3753" y="1040"/>
                </a:lnTo>
                <a:lnTo>
                  <a:pt x="3760" y="1034"/>
                </a:lnTo>
                <a:lnTo>
                  <a:pt x="3767" y="1029"/>
                </a:lnTo>
                <a:lnTo>
                  <a:pt x="3776" y="1024"/>
                </a:lnTo>
                <a:lnTo>
                  <a:pt x="3783" y="1020"/>
                </a:lnTo>
                <a:lnTo>
                  <a:pt x="3793" y="1017"/>
                </a:lnTo>
                <a:lnTo>
                  <a:pt x="3801" y="1015"/>
                </a:lnTo>
                <a:lnTo>
                  <a:pt x="3811" y="1013"/>
                </a:lnTo>
                <a:lnTo>
                  <a:pt x="3820" y="1013"/>
                </a:lnTo>
                <a:lnTo>
                  <a:pt x="3829" y="1013"/>
                </a:lnTo>
                <a:lnTo>
                  <a:pt x="3839" y="1015"/>
                </a:lnTo>
                <a:lnTo>
                  <a:pt x="3847" y="1017"/>
                </a:lnTo>
                <a:lnTo>
                  <a:pt x="3857" y="1020"/>
                </a:lnTo>
                <a:lnTo>
                  <a:pt x="3865" y="1024"/>
                </a:lnTo>
                <a:lnTo>
                  <a:pt x="3872" y="1029"/>
                </a:lnTo>
                <a:lnTo>
                  <a:pt x="3879" y="1034"/>
                </a:lnTo>
                <a:lnTo>
                  <a:pt x="3886" y="1040"/>
                </a:lnTo>
                <a:lnTo>
                  <a:pt x="3892" y="1047"/>
                </a:lnTo>
                <a:lnTo>
                  <a:pt x="3897" y="1054"/>
                </a:lnTo>
                <a:lnTo>
                  <a:pt x="3903" y="1062"/>
                </a:lnTo>
                <a:lnTo>
                  <a:pt x="3906" y="1070"/>
                </a:lnTo>
                <a:lnTo>
                  <a:pt x="3910" y="1079"/>
                </a:lnTo>
                <a:lnTo>
                  <a:pt x="3911" y="1087"/>
                </a:lnTo>
                <a:lnTo>
                  <a:pt x="3913" y="1097"/>
                </a:lnTo>
                <a:lnTo>
                  <a:pt x="3914" y="1107"/>
                </a:lnTo>
                <a:lnTo>
                  <a:pt x="3913" y="1116"/>
                </a:lnTo>
                <a:lnTo>
                  <a:pt x="3911" y="1125"/>
                </a:lnTo>
                <a:lnTo>
                  <a:pt x="3910" y="1135"/>
                </a:lnTo>
                <a:lnTo>
                  <a:pt x="3906" y="1143"/>
                </a:lnTo>
                <a:lnTo>
                  <a:pt x="3903" y="1151"/>
                </a:lnTo>
                <a:lnTo>
                  <a:pt x="3897" y="1158"/>
                </a:lnTo>
                <a:lnTo>
                  <a:pt x="3892" y="1167"/>
                </a:lnTo>
                <a:lnTo>
                  <a:pt x="3886" y="1172"/>
                </a:lnTo>
                <a:lnTo>
                  <a:pt x="3879" y="1179"/>
                </a:lnTo>
                <a:lnTo>
                  <a:pt x="3872" y="1185"/>
                </a:lnTo>
                <a:lnTo>
                  <a:pt x="3865" y="1189"/>
                </a:lnTo>
                <a:lnTo>
                  <a:pt x="3857" y="1193"/>
                </a:lnTo>
                <a:lnTo>
                  <a:pt x="3847" y="1196"/>
                </a:lnTo>
                <a:lnTo>
                  <a:pt x="3839" y="1199"/>
                </a:lnTo>
                <a:lnTo>
                  <a:pt x="3829" y="1200"/>
                </a:lnTo>
                <a:lnTo>
                  <a:pt x="3820" y="1200"/>
                </a:lnTo>
                <a:lnTo>
                  <a:pt x="3811" y="1200"/>
                </a:lnTo>
                <a:lnTo>
                  <a:pt x="3801" y="1199"/>
                </a:lnTo>
                <a:lnTo>
                  <a:pt x="3793" y="1196"/>
                </a:lnTo>
                <a:lnTo>
                  <a:pt x="3783" y="1193"/>
                </a:lnTo>
                <a:lnTo>
                  <a:pt x="3776" y="1189"/>
                </a:lnTo>
                <a:lnTo>
                  <a:pt x="3767" y="1185"/>
                </a:lnTo>
                <a:lnTo>
                  <a:pt x="3760" y="1179"/>
                </a:lnTo>
                <a:lnTo>
                  <a:pt x="3753" y="1172"/>
                </a:lnTo>
                <a:lnTo>
                  <a:pt x="3748" y="1167"/>
                </a:lnTo>
                <a:lnTo>
                  <a:pt x="3742" y="1158"/>
                </a:lnTo>
                <a:lnTo>
                  <a:pt x="3737" y="1151"/>
                </a:lnTo>
                <a:lnTo>
                  <a:pt x="3734" y="1143"/>
                </a:lnTo>
                <a:lnTo>
                  <a:pt x="3730" y="1135"/>
                </a:lnTo>
                <a:lnTo>
                  <a:pt x="3728" y="1125"/>
                </a:lnTo>
                <a:lnTo>
                  <a:pt x="3727" y="1116"/>
                </a:lnTo>
                <a:lnTo>
                  <a:pt x="3726" y="1107"/>
                </a:lnTo>
                <a:close/>
                <a:moveTo>
                  <a:pt x="3726" y="1418"/>
                </a:moveTo>
                <a:lnTo>
                  <a:pt x="3726" y="1418"/>
                </a:lnTo>
                <a:lnTo>
                  <a:pt x="3727" y="1408"/>
                </a:lnTo>
                <a:lnTo>
                  <a:pt x="3728" y="1398"/>
                </a:lnTo>
                <a:lnTo>
                  <a:pt x="3730" y="1390"/>
                </a:lnTo>
                <a:lnTo>
                  <a:pt x="3734" y="1382"/>
                </a:lnTo>
                <a:lnTo>
                  <a:pt x="3737" y="1373"/>
                </a:lnTo>
                <a:lnTo>
                  <a:pt x="3742" y="1365"/>
                </a:lnTo>
                <a:lnTo>
                  <a:pt x="3748" y="1358"/>
                </a:lnTo>
                <a:lnTo>
                  <a:pt x="3753" y="1351"/>
                </a:lnTo>
                <a:lnTo>
                  <a:pt x="3760" y="1345"/>
                </a:lnTo>
                <a:lnTo>
                  <a:pt x="3767" y="1340"/>
                </a:lnTo>
                <a:lnTo>
                  <a:pt x="3776" y="1336"/>
                </a:lnTo>
                <a:lnTo>
                  <a:pt x="3783" y="1331"/>
                </a:lnTo>
                <a:lnTo>
                  <a:pt x="3793" y="1329"/>
                </a:lnTo>
                <a:lnTo>
                  <a:pt x="3801" y="1326"/>
                </a:lnTo>
                <a:lnTo>
                  <a:pt x="3811" y="1324"/>
                </a:lnTo>
                <a:lnTo>
                  <a:pt x="3820" y="1324"/>
                </a:lnTo>
                <a:lnTo>
                  <a:pt x="3829" y="1324"/>
                </a:lnTo>
                <a:lnTo>
                  <a:pt x="3839" y="1326"/>
                </a:lnTo>
                <a:lnTo>
                  <a:pt x="3847" y="1329"/>
                </a:lnTo>
                <a:lnTo>
                  <a:pt x="3857" y="1331"/>
                </a:lnTo>
                <a:lnTo>
                  <a:pt x="3865" y="1336"/>
                </a:lnTo>
                <a:lnTo>
                  <a:pt x="3872" y="1340"/>
                </a:lnTo>
                <a:lnTo>
                  <a:pt x="3879" y="1345"/>
                </a:lnTo>
                <a:lnTo>
                  <a:pt x="3886" y="1351"/>
                </a:lnTo>
                <a:lnTo>
                  <a:pt x="3892" y="1358"/>
                </a:lnTo>
                <a:lnTo>
                  <a:pt x="3897" y="1365"/>
                </a:lnTo>
                <a:lnTo>
                  <a:pt x="3903" y="1373"/>
                </a:lnTo>
                <a:lnTo>
                  <a:pt x="3906" y="1382"/>
                </a:lnTo>
                <a:lnTo>
                  <a:pt x="3910" y="1390"/>
                </a:lnTo>
                <a:lnTo>
                  <a:pt x="3911" y="1398"/>
                </a:lnTo>
                <a:lnTo>
                  <a:pt x="3913" y="1408"/>
                </a:lnTo>
                <a:lnTo>
                  <a:pt x="3914" y="1418"/>
                </a:lnTo>
                <a:lnTo>
                  <a:pt x="3913" y="1428"/>
                </a:lnTo>
                <a:lnTo>
                  <a:pt x="3911" y="1436"/>
                </a:lnTo>
                <a:lnTo>
                  <a:pt x="3910" y="1446"/>
                </a:lnTo>
                <a:lnTo>
                  <a:pt x="3906" y="1454"/>
                </a:lnTo>
                <a:lnTo>
                  <a:pt x="3903" y="1463"/>
                </a:lnTo>
                <a:lnTo>
                  <a:pt x="3897" y="1470"/>
                </a:lnTo>
                <a:lnTo>
                  <a:pt x="3892" y="1476"/>
                </a:lnTo>
                <a:lnTo>
                  <a:pt x="3886" y="1483"/>
                </a:lnTo>
                <a:lnTo>
                  <a:pt x="3879" y="1489"/>
                </a:lnTo>
                <a:lnTo>
                  <a:pt x="3872" y="1495"/>
                </a:lnTo>
                <a:lnTo>
                  <a:pt x="3865" y="1500"/>
                </a:lnTo>
                <a:lnTo>
                  <a:pt x="3857" y="1504"/>
                </a:lnTo>
                <a:lnTo>
                  <a:pt x="3847" y="1507"/>
                </a:lnTo>
                <a:lnTo>
                  <a:pt x="3839" y="1509"/>
                </a:lnTo>
                <a:lnTo>
                  <a:pt x="3829" y="1510"/>
                </a:lnTo>
                <a:lnTo>
                  <a:pt x="3820" y="1511"/>
                </a:lnTo>
                <a:lnTo>
                  <a:pt x="3811" y="1510"/>
                </a:lnTo>
                <a:lnTo>
                  <a:pt x="3801" y="1509"/>
                </a:lnTo>
                <a:lnTo>
                  <a:pt x="3793" y="1507"/>
                </a:lnTo>
                <a:lnTo>
                  <a:pt x="3783" y="1504"/>
                </a:lnTo>
                <a:lnTo>
                  <a:pt x="3776" y="1500"/>
                </a:lnTo>
                <a:lnTo>
                  <a:pt x="3767" y="1495"/>
                </a:lnTo>
                <a:lnTo>
                  <a:pt x="3760" y="1489"/>
                </a:lnTo>
                <a:lnTo>
                  <a:pt x="3753" y="1483"/>
                </a:lnTo>
                <a:lnTo>
                  <a:pt x="3748" y="1476"/>
                </a:lnTo>
                <a:lnTo>
                  <a:pt x="3742" y="1470"/>
                </a:lnTo>
                <a:lnTo>
                  <a:pt x="3737" y="1463"/>
                </a:lnTo>
                <a:lnTo>
                  <a:pt x="3734" y="1454"/>
                </a:lnTo>
                <a:lnTo>
                  <a:pt x="3730" y="1446"/>
                </a:lnTo>
                <a:lnTo>
                  <a:pt x="3728" y="1436"/>
                </a:lnTo>
                <a:lnTo>
                  <a:pt x="3727" y="1428"/>
                </a:lnTo>
                <a:lnTo>
                  <a:pt x="3726" y="1418"/>
                </a:lnTo>
                <a:close/>
                <a:moveTo>
                  <a:pt x="3726" y="2661"/>
                </a:moveTo>
                <a:lnTo>
                  <a:pt x="3726" y="2661"/>
                </a:lnTo>
                <a:lnTo>
                  <a:pt x="3727" y="2652"/>
                </a:lnTo>
                <a:lnTo>
                  <a:pt x="3728" y="2642"/>
                </a:lnTo>
                <a:lnTo>
                  <a:pt x="3730" y="2633"/>
                </a:lnTo>
                <a:lnTo>
                  <a:pt x="3734" y="2625"/>
                </a:lnTo>
                <a:lnTo>
                  <a:pt x="3737" y="2617"/>
                </a:lnTo>
                <a:lnTo>
                  <a:pt x="3742" y="2608"/>
                </a:lnTo>
                <a:lnTo>
                  <a:pt x="3748" y="2601"/>
                </a:lnTo>
                <a:lnTo>
                  <a:pt x="3753" y="2594"/>
                </a:lnTo>
                <a:lnTo>
                  <a:pt x="3760" y="2589"/>
                </a:lnTo>
                <a:lnTo>
                  <a:pt x="3767" y="2583"/>
                </a:lnTo>
                <a:lnTo>
                  <a:pt x="3776" y="2579"/>
                </a:lnTo>
                <a:lnTo>
                  <a:pt x="3783" y="2575"/>
                </a:lnTo>
                <a:lnTo>
                  <a:pt x="3793" y="2572"/>
                </a:lnTo>
                <a:lnTo>
                  <a:pt x="3801" y="2569"/>
                </a:lnTo>
                <a:lnTo>
                  <a:pt x="3811" y="2568"/>
                </a:lnTo>
                <a:lnTo>
                  <a:pt x="3820" y="2568"/>
                </a:lnTo>
                <a:lnTo>
                  <a:pt x="3829" y="2568"/>
                </a:lnTo>
                <a:lnTo>
                  <a:pt x="3839" y="2569"/>
                </a:lnTo>
                <a:lnTo>
                  <a:pt x="3847" y="2572"/>
                </a:lnTo>
                <a:lnTo>
                  <a:pt x="3857" y="2575"/>
                </a:lnTo>
                <a:lnTo>
                  <a:pt x="3865" y="2579"/>
                </a:lnTo>
                <a:lnTo>
                  <a:pt x="3872" y="2583"/>
                </a:lnTo>
                <a:lnTo>
                  <a:pt x="3879" y="2589"/>
                </a:lnTo>
                <a:lnTo>
                  <a:pt x="3886" y="2594"/>
                </a:lnTo>
                <a:lnTo>
                  <a:pt x="3892" y="2601"/>
                </a:lnTo>
                <a:lnTo>
                  <a:pt x="3897" y="2608"/>
                </a:lnTo>
                <a:lnTo>
                  <a:pt x="3903" y="2617"/>
                </a:lnTo>
                <a:lnTo>
                  <a:pt x="3906" y="2625"/>
                </a:lnTo>
                <a:lnTo>
                  <a:pt x="3910" y="2633"/>
                </a:lnTo>
                <a:lnTo>
                  <a:pt x="3911" y="2642"/>
                </a:lnTo>
                <a:lnTo>
                  <a:pt x="3913" y="2652"/>
                </a:lnTo>
                <a:lnTo>
                  <a:pt x="3914" y="2661"/>
                </a:lnTo>
                <a:lnTo>
                  <a:pt x="3913" y="2671"/>
                </a:lnTo>
                <a:lnTo>
                  <a:pt x="3911" y="2679"/>
                </a:lnTo>
                <a:lnTo>
                  <a:pt x="3910" y="2689"/>
                </a:lnTo>
                <a:lnTo>
                  <a:pt x="3906" y="2698"/>
                </a:lnTo>
                <a:lnTo>
                  <a:pt x="3903" y="2706"/>
                </a:lnTo>
                <a:lnTo>
                  <a:pt x="3897" y="2713"/>
                </a:lnTo>
                <a:lnTo>
                  <a:pt x="3892" y="2720"/>
                </a:lnTo>
                <a:lnTo>
                  <a:pt x="3886" y="2727"/>
                </a:lnTo>
                <a:lnTo>
                  <a:pt x="3879" y="2734"/>
                </a:lnTo>
                <a:lnTo>
                  <a:pt x="3872" y="2738"/>
                </a:lnTo>
                <a:lnTo>
                  <a:pt x="3865" y="2744"/>
                </a:lnTo>
                <a:lnTo>
                  <a:pt x="3857" y="2748"/>
                </a:lnTo>
                <a:lnTo>
                  <a:pt x="3847" y="2751"/>
                </a:lnTo>
                <a:lnTo>
                  <a:pt x="3839" y="2753"/>
                </a:lnTo>
                <a:lnTo>
                  <a:pt x="3829" y="2755"/>
                </a:lnTo>
                <a:lnTo>
                  <a:pt x="3820" y="2755"/>
                </a:lnTo>
                <a:lnTo>
                  <a:pt x="3811" y="2755"/>
                </a:lnTo>
                <a:lnTo>
                  <a:pt x="3801" y="2753"/>
                </a:lnTo>
                <a:lnTo>
                  <a:pt x="3793" y="2751"/>
                </a:lnTo>
                <a:lnTo>
                  <a:pt x="3783" y="2748"/>
                </a:lnTo>
                <a:lnTo>
                  <a:pt x="3776" y="2744"/>
                </a:lnTo>
                <a:lnTo>
                  <a:pt x="3767" y="2738"/>
                </a:lnTo>
                <a:lnTo>
                  <a:pt x="3760" y="2734"/>
                </a:lnTo>
                <a:lnTo>
                  <a:pt x="3753" y="2727"/>
                </a:lnTo>
                <a:lnTo>
                  <a:pt x="3748" y="2720"/>
                </a:lnTo>
                <a:lnTo>
                  <a:pt x="3742" y="2713"/>
                </a:lnTo>
                <a:lnTo>
                  <a:pt x="3737" y="2706"/>
                </a:lnTo>
                <a:lnTo>
                  <a:pt x="3734" y="2698"/>
                </a:lnTo>
                <a:lnTo>
                  <a:pt x="3730" y="2689"/>
                </a:lnTo>
                <a:lnTo>
                  <a:pt x="3728" y="2679"/>
                </a:lnTo>
                <a:lnTo>
                  <a:pt x="3727" y="2671"/>
                </a:lnTo>
                <a:lnTo>
                  <a:pt x="3726" y="2661"/>
                </a:lnTo>
                <a:close/>
                <a:moveTo>
                  <a:pt x="3726" y="2973"/>
                </a:moveTo>
                <a:lnTo>
                  <a:pt x="3726" y="2973"/>
                </a:lnTo>
                <a:lnTo>
                  <a:pt x="3727" y="2963"/>
                </a:lnTo>
                <a:lnTo>
                  <a:pt x="3728" y="2953"/>
                </a:lnTo>
                <a:lnTo>
                  <a:pt x="3730" y="2945"/>
                </a:lnTo>
                <a:lnTo>
                  <a:pt x="3734" y="2935"/>
                </a:lnTo>
                <a:lnTo>
                  <a:pt x="3737" y="2928"/>
                </a:lnTo>
                <a:lnTo>
                  <a:pt x="3742" y="2919"/>
                </a:lnTo>
                <a:lnTo>
                  <a:pt x="3748" y="2913"/>
                </a:lnTo>
                <a:lnTo>
                  <a:pt x="3753" y="2906"/>
                </a:lnTo>
                <a:lnTo>
                  <a:pt x="3760" y="2900"/>
                </a:lnTo>
                <a:lnTo>
                  <a:pt x="3767" y="2894"/>
                </a:lnTo>
                <a:lnTo>
                  <a:pt x="3776" y="2890"/>
                </a:lnTo>
                <a:lnTo>
                  <a:pt x="3783" y="2886"/>
                </a:lnTo>
                <a:lnTo>
                  <a:pt x="3793" y="2882"/>
                </a:lnTo>
                <a:lnTo>
                  <a:pt x="3801" y="2880"/>
                </a:lnTo>
                <a:lnTo>
                  <a:pt x="3811" y="2879"/>
                </a:lnTo>
                <a:lnTo>
                  <a:pt x="3820" y="2878"/>
                </a:lnTo>
                <a:lnTo>
                  <a:pt x="3829" y="2879"/>
                </a:lnTo>
                <a:lnTo>
                  <a:pt x="3839" y="2880"/>
                </a:lnTo>
                <a:lnTo>
                  <a:pt x="3847" y="2882"/>
                </a:lnTo>
                <a:lnTo>
                  <a:pt x="3857" y="2886"/>
                </a:lnTo>
                <a:lnTo>
                  <a:pt x="3865" y="2890"/>
                </a:lnTo>
                <a:lnTo>
                  <a:pt x="3872" y="2894"/>
                </a:lnTo>
                <a:lnTo>
                  <a:pt x="3879" y="2900"/>
                </a:lnTo>
                <a:lnTo>
                  <a:pt x="3886" y="2906"/>
                </a:lnTo>
                <a:lnTo>
                  <a:pt x="3892" y="2913"/>
                </a:lnTo>
                <a:lnTo>
                  <a:pt x="3897" y="2919"/>
                </a:lnTo>
                <a:lnTo>
                  <a:pt x="3903" y="2928"/>
                </a:lnTo>
                <a:lnTo>
                  <a:pt x="3906" y="2935"/>
                </a:lnTo>
                <a:lnTo>
                  <a:pt x="3910" y="2945"/>
                </a:lnTo>
                <a:lnTo>
                  <a:pt x="3911" y="2953"/>
                </a:lnTo>
                <a:lnTo>
                  <a:pt x="3913" y="2963"/>
                </a:lnTo>
                <a:lnTo>
                  <a:pt x="3914" y="2973"/>
                </a:lnTo>
                <a:lnTo>
                  <a:pt x="3913" y="2981"/>
                </a:lnTo>
                <a:lnTo>
                  <a:pt x="3911" y="2991"/>
                </a:lnTo>
                <a:lnTo>
                  <a:pt x="3910" y="3000"/>
                </a:lnTo>
                <a:lnTo>
                  <a:pt x="3906" y="3009"/>
                </a:lnTo>
                <a:lnTo>
                  <a:pt x="3903" y="3017"/>
                </a:lnTo>
                <a:lnTo>
                  <a:pt x="3897" y="3024"/>
                </a:lnTo>
                <a:lnTo>
                  <a:pt x="3892" y="3031"/>
                </a:lnTo>
                <a:lnTo>
                  <a:pt x="3886" y="3038"/>
                </a:lnTo>
                <a:lnTo>
                  <a:pt x="3879" y="3044"/>
                </a:lnTo>
                <a:lnTo>
                  <a:pt x="3872" y="3049"/>
                </a:lnTo>
                <a:lnTo>
                  <a:pt x="3865" y="3055"/>
                </a:lnTo>
                <a:lnTo>
                  <a:pt x="3857" y="3058"/>
                </a:lnTo>
                <a:lnTo>
                  <a:pt x="3847" y="3062"/>
                </a:lnTo>
                <a:lnTo>
                  <a:pt x="3839" y="3063"/>
                </a:lnTo>
                <a:lnTo>
                  <a:pt x="3829" y="3065"/>
                </a:lnTo>
                <a:lnTo>
                  <a:pt x="3820" y="3066"/>
                </a:lnTo>
                <a:lnTo>
                  <a:pt x="3811" y="3065"/>
                </a:lnTo>
                <a:lnTo>
                  <a:pt x="3801" y="3063"/>
                </a:lnTo>
                <a:lnTo>
                  <a:pt x="3793" y="3062"/>
                </a:lnTo>
                <a:lnTo>
                  <a:pt x="3783" y="3058"/>
                </a:lnTo>
                <a:lnTo>
                  <a:pt x="3776" y="3055"/>
                </a:lnTo>
                <a:lnTo>
                  <a:pt x="3767" y="3049"/>
                </a:lnTo>
                <a:lnTo>
                  <a:pt x="3760" y="3044"/>
                </a:lnTo>
                <a:lnTo>
                  <a:pt x="3753" y="3038"/>
                </a:lnTo>
                <a:lnTo>
                  <a:pt x="3748" y="3031"/>
                </a:lnTo>
                <a:lnTo>
                  <a:pt x="3742" y="3024"/>
                </a:lnTo>
                <a:lnTo>
                  <a:pt x="3737" y="3017"/>
                </a:lnTo>
                <a:lnTo>
                  <a:pt x="3734" y="3009"/>
                </a:lnTo>
                <a:lnTo>
                  <a:pt x="3730" y="3000"/>
                </a:lnTo>
                <a:lnTo>
                  <a:pt x="3728" y="2991"/>
                </a:lnTo>
                <a:lnTo>
                  <a:pt x="3727" y="2981"/>
                </a:lnTo>
                <a:lnTo>
                  <a:pt x="3726" y="2973"/>
                </a:lnTo>
                <a:close/>
                <a:moveTo>
                  <a:pt x="3726" y="2350"/>
                </a:moveTo>
                <a:lnTo>
                  <a:pt x="3726" y="2350"/>
                </a:lnTo>
                <a:lnTo>
                  <a:pt x="3727" y="2340"/>
                </a:lnTo>
                <a:lnTo>
                  <a:pt x="3728" y="2331"/>
                </a:lnTo>
                <a:lnTo>
                  <a:pt x="3730" y="2322"/>
                </a:lnTo>
                <a:lnTo>
                  <a:pt x="3734" y="2314"/>
                </a:lnTo>
                <a:lnTo>
                  <a:pt x="3737" y="2305"/>
                </a:lnTo>
                <a:lnTo>
                  <a:pt x="3742" y="2297"/>
                </a:lnTo>
                <a:lnTo>
                  <a:pt x="3748" y="2290"/>
                </a:lnTo>
                <a:lnTo>
                  <a:pt x="3753" y="2285"/>
                </a:lnTo>
                <a:lnTo>
                  <a:pt x="3760" y="2278"/>
                </a:lnTo>
                <a:lnTo>
                  <a:pt x="3767" y="2272"/>
                </a:lnTo>
                <a:lnTo>
                  <a:pt x="3776" y="2268"/>
                </a:lnTo>
                <a:lnTo>
                  <a:pt x="3783" y="2264"/>
                </a:lnTo>
                <a:lnTo>
                  <a:pt x="3793" y="2261"/>
                </a:lnTo>
                <a:lnTo>
                  <a:pt x="3801" y="2258"/>
                </a:lnTo>
                <a:lnTo>
                  <a:pt x="3811" y="2257"/>
                </a:lnTo>
                <a:lnTo>
                  <a:pt x="3820" y="2257"/>
                </a:lnTo>
                <a:lnTo>
                  <a:pt x="3829" y="2257"/>
                </a:lnTo>
                <a:lnTo>
                  <a:pt x="3839" y="2258"/>
                </a:lnTo>
                <a:lnTo>
                  <a:pt x="3847" y="2261"/>
                </a:lnTo>
                <a:lnTo>
                  <a:pt x="3857" y="2264"/>
                </a:lnTo>
                <a:lnTo>
                  <a:pt x="3865" y="2268"/>
                </a:lnTo>
                <a:lnTo>
                  <a:pt x="3872" y="2272"/>
                </a:lnTo>
                <a:lnTo>
                  <a:pt x="3879" y="2278"/>
                </a:lnTo>
                <a:lnTo>
                  <a:pt x="3886" y="2285"/>
                </a:lnTo>
                <a:lnTo>
                  <a:pt x="3892" y="2290"/>
                </a:lnTo>
                <a:lnTo>
                  <a:pt x="3897" y="2297"/>
                </a:lnTo>
                <a:lnTo>
                  <a:pt x="3903" y="2305"/>
                </a:lnTo>
                <a:lnTo>
                  <a:pt x="3906" y="2314"/>
                </a:lnTo>
                <a:lnTo>
                  <a:pt x="3910" y="2322"/>
                </a:lnTo>
                <a:lnTo>
                  <a:pt x="3911" y="2331"/>
                </a:lnTo>
                <a:lnTo>
                  <a:pt x="3913" y="2340"/>
                </a:lnTo>
                <a:lnTo>
                  <a:pt x="3914" y="2350"/>
                </a:lnTo>
                <a:lnTo>
                  <a:pt x="3913" y="2360"/>
                </a:lnTo>
                <a:lnTo>
                  <a:pt x="3911" y="2370"/>
                </a:lnTo>
                <a:lnTo>
                  <a:pt x="3910" y="2378"/>
                </a:lnTo>
                <a:lnTo>
                  <a:pt x="3906" y="2386"/>
                </a:lnTo>
                <a:lnTo>
                  <a:pt x="3903" y="2395"/>
                </a:lnTo>
                <a:lnTo>
                  <a:pt x="3897" y="2403"/>
                </a:lnTo>
                <a:lnTo>
                  <a:pt x="3892" y="2410"/>
                </a:lnTo>
                <a:lnTo>
                  <a:pt x="3886" y="2416"/>
                </a:lnTo>
                <a:lnTo>
                  <a:pt x="3879" y="2423"/>
                </a:lnTo>
                <a:lnTo>
                  <a:pt x="3872" y="2428"/>
                </a:lnTo>
                <a:lnTo>
                  <a:pt x="3865" y="2432"/>
                </a:lnTo>
                <a:lnTo>
                  <a:pt x="3857" y="2437"/>
                </a:lnTo>
                <a:lnTo>
                  <a:pt x="3847" y="2439"/>
                </a:lnTo>
                <a:lnTo>
                  <a:pt x="3839" y="2442"/>
                </a:lnTo>
                <a:lnTo>
                  <a:pt x="3829" y="2444"/>
                </a:lnTo>
                <a:lnTo>
                  <a:pt x="3820" y="2444"/>
                </a:lnTo>
                <a:lnTo>
                  <a:pt x="3811" y="2444"/>
                </a:lnTo>
                <a:lnTo>
                  <a:pt x="3801" y="2442"/>
                </a:lnTo>
                <a:lnTo>
                  <a:pt x="3793" y="2439"/>
                </a:lnTo>
                <a:lnTo>
                  <a:pt x="3783" y="2437"/>
                </a:lnTo>
                <a:lnTo>
                  <a:pt x="3776" y="2432"/>
                </a:lnTo>
                <a:lnTo>
                  <a:pt x="3767" y="2428"/>
                </a:lnTo>
                <a:lnTo>
                  <a:pt x="3760" y="2423"/>
                </a:lnTo>
                <a:lnTo>
                  <a:pt x="3753" y="2416"/>
                </a:lnTo>
                <a:lnTo>
                  <a:pt x="3748" y="2410"/>
                </a:lnTo>
                <a:lnTo>
                  <a:pt x="3742" y="2403"/>
                </a:lnTo>
                <a:lnTo>
                  <a:pt x="3737" y="2395"/>
                </a:lnTo>
                <a:lnTo>
                  <a:pt x="3734" y="2386"/>
                </a:lnTo>
                <a:lnTo>
                  <a:pt x="3730" y="2378"/>
                </a:lnTo>
                <a:lnTo>
                  <a:pt x="3728" y="2370"/>
                </a:lnTo>
                <a:lnTo>
                  <a:pt x="3727" y="2360"/>
                </a:lnTo>
                <a:lnTo>
                  <a:pt x="3726" y="2350"/>
                </a:lnTo>
                <a:close/>
                <a:moveTo>
                  <a:pt x="3726" y="2039"/>
                </a:moveTo>
                <a:lnTo>
                  <a:pt x="3726" y="2039"/>
                </a:lnTo>
                <a:lnTo>
                  <a:pt x="3727" y="2029"/>
                </a:lnTo>
                <a:lnTo>
                  <a:pt x="3728" y="2021"/>
                </a:lnTo>
                <a:lnTo>
                  <a:pt x="3730" y="2011"/>
                </a:lnTo>
                <a:lnTo>
                  <a:pt x="3734" y="2003"/>
                </a:lnTo>
                <a:lnTo>
                  <a:pt x="3737" y="1994"/>
                </a:lnTo>
                <a:lnTo>
                  <a:pt x="3742" y="1987"/>
                </a:lnTo>
                <a:lnTo>
                  <a:pt x="3748" y="1979"/>
                </a:lnTo>
                <a:lnTo>
                  <a:pt x="3753" y="1973"/>
                </a:lnTo>
                <a:lnTo>
                  <a:pt x="3760" y="1966"/>
                </a:lnTo>
                <a:lnTo>
                  <a:pt x="3767" y="1962"/>
                </a:lnTo>
                <a:lnTo>
                  <a:pt x="3776" y="1957"/>
                </a:lnTo>
                <a:lnTo>
                  <a:pt x="3783" y="1952"/>
                </a:lnTo>
                <a:lnTo>
                  <a:pt x="3793" y="1950"/>
                </a:lnTo>
                <a:lnTo>
                  <a:pt x="3801" y="1947"/>
                </a:lnTo>
                <a:lnTo>
                  <a:pt x="3811" y="1945"/>
                </a:lnTo>
                <a:lnTo>
                  <a:pt x="3820" y="1945"/>
                </a:lnTo>
                <a:lnTo>
                  <a:pt x="3829" y="1945"/>
                </a:lnTo>
                <a:lnTo>
                  <a:pt x="3839" y="1947"/>
                </a:lnTo>
                <a:lnTo>
                  <a:pt x="3847" y="1950"/>
                </a:lnTo>
                <a:lnTo>
                  <a:pt x="3857" y="1952"/>
                </a:lnTo>
                <a:lnTo>
                  <a:pt x="3865" y="1957"/>
                </a:lnTo>
                <a:lnTo>
                  <a:pt x="3872" y="1962"/>
                </a:lnTo>
                <a:lnTo>
                  <a:pt x="3879" y="1966"/>
                </a:lnTo>
                <a:lnTo>
                  <a:pt x="3886" y="1973"/>
                </a:lnTo>
                <a:lnTo>
                  <a:pt x="3892" y="1979"/>
                </a:lnTo>
                <a:lnTo>
                  <a:pt x="3897" y="1987"/>
                </a:lnTo>
                <a:lnTo>
                  <a:pt x="3903" y="1994"/>
                </a:lnTo>
                <a:lnTo>
                  <a:pt x="3906" y="2003"/>
                </a:lnTo>
                <a:lnTo>
                  <a:pt x="3910" y="2011"/>
                </a:lnTo>
                <a:lnTo>
                  <a:pt x="3911" y="2021"/>
                </a:lnTo>
                <a:lnTo>
                  <a:pt x="3913" y="2029"/>
                </a:lnTo>
                <a:lnTo>
                  <a:pt x="3914" y="2039"/>
                </a:lnTo>
                <a:lnTo>
                  <a:pt x="3913" y="2049"/>
                </a:lnTo>
                <a:lnTo>
                  <a:pt x="3911" y="2058"/>
                </a:lnTo>
                <a:lnTo>
                  <a:pt x="3910" y="2067"/>
                </a:lnTo>
                <a:lnTo>
                  <a:pt x="3906" y="2075"/>
                </a:lnTo>
                <a:lnTo>
                  <a:pt x="3903" y="2084"/>
                </a:lnTo>
                <a:lnTo>
                  <a:pt x="3897" y="2092"/>
                </a:lnTo>
                <a:lnTo>
                  <a:pt x="3892" y="2099"/>
                </a:lnTo>
                <a:lnTo>
                  <a:pt x="3886" y="2106"/>
                </a:lnTo>
                <a:lnTo>
                  <a:pt x="3879" y="2111"/>
                </a:lnTo>
                <a:lnTo>
                  <a:pt x="3872" y="2117"/>
                </a:lnTo>
                <a:lnTo>
                  <a:pt x="3865" y="2121"/>
                </a:lnTo>
                <a:lnTo>
                  <a:pt x="3857" y="2125"/>
                </a:lnTo>
                <a:lnTo>
                  <a:pt x="3847" y="2128"/>
                </a:lnTo>
                <a:lnTo>
                  <a:pt x="3839" y="2131"/>
                </a:lnTo>
                <a:lnTo>
                  <a:pt x="3829" y="2132"/>
                </a:lnTo>
                <a:lnTo>
                  <a:pt x="3820" y="2132"/>
                </a:lnTo>
                <a:lnTo>
                  <a:pt x="3811" y="2132"/>
                </a:lnTo>
                <a:lnTo>
                  <a:pt x="3801" y="2131"/>
                </a:lnTo>
                <a:lnTo>
                  <a:pt x="3793" y="2128"/>
                </a:lnTo>
                <a:lnTo>
                  <a:pt x="3783" y="2125"/>
                </a:lnTo>
                <a:lnTo>
                  <a:pt x="3776" y="2121"/>
                </a:lnTo>
                <a:lnTo>
                  <a:pt x="3767" y="2117"/>
                </a:lnTo>
                <a:lnTo>
                  <a:pt x="3760" y="2111"/>
                </a:lnTo>
                <a:lnTo>
                  <a:pt x="3753" y="2106"/>
                </a:lnTo>
                <a:lnTo>
                  <a:pt x="3748" y="2099"/>
                </a:lnTo>
                <a:lnTo>
                  <a:pt x="3742" y="2092"/>
                </a:lnTo>
                <a:lnTo>
                  <a:pt x="3737" y="2084"/>
                </a:lnTo>
                <a:lnTo>
                  <a:pt x="3734" y="2075"/>
                </a:lnTo>
                <a:lnTo>
                  <a:pt x="3730" y="2067"/>
                </a:lnTo>
                <a:lnTo>
                  <a:pt x="3728" y="2058"/>
                </a:lnTo>
                <a:lnTo>
                  <a:pt x="3727" y="2049"/>
                </a:lnTo>
                <a:lnTo>
                  <a:pt x="3726" y="2039"/>
                </a:lnTo>
                <a:close/>
                <a:moveTo>
                  <a:pt x="3726" y="1728"/>
                </a:moveTo>
                <a:lnTo>
                  <a:pt x="3726" y="1728"/>
                </a:lnTo>
                <a:lnTo>
                  <a:pt x="3727" y="1719"/>
                </a:lnTo>
                <a:lnTo>
                  <a:pt x="3728" y="1710"/>
                </a:lnTo>
                <a:lnTo>
                  <a:pt x="3730" y="1700"/>
                </a:lnTo>
                <a:lnTo>
                  <a:pt x="3734" y="1691"/>
                </a:lnTo>
                <a:lnTo>
                  <a:pt x="3737" y="1683"/>
                </a:lnTo>
                <a:lnTo>
                  <a:pt x="3742" y="1676"/>
                </a:lnTo>
                <a:lnTo>
                  <a:pt x="3748" y="1669"/>
                </a:lnTo>
                <a:lnTo>
                  <a:pt x="3753" y="1662"/>
                </a:lnTo>
                <a:lnTo>
                  <a:pt x="3760" y="1657"/>
                </a:lnTo>
                <a:lnTo>
                  <a:pt x="3767" y="1651"/>
                </a:lnTo>
                <a:lnTo>
                  <a:pt x="3776" y="1645"/>
                </a:lnTo>
                <a:lnTo>
                  <a:pt x="3783" y="1643"/>
                </a:lnTo>
                <a:lnTo>
                  <a:pt x="3793" y="1638"/>
                </a:lnTo>
                <a:lnTo>
                  <a:pt x="3801" y="1637"/>
                </a:lnTo>
                <a:lnTo>
                  <a:pt x="3811" y="1636"/>
                </a:lnTo>
                <a:lnTo>
                  <a:pt x="3820" y="1634"/>
                </a:lnTo>
                <a:lnTo>
                  <a:pt x="3829" y="1636"/>
                </a:lnTo>
                <a:lnTo>
                  <a:pt x="3839" y="1637"/>
                </a:lnTo>
                <a:lnTo>
                  <a:pt x="3847" y="1638"/>
                </a:lnTo>
                <a:lnTo>
                  <a:pt x="3857" y="1643"/>
                </a:lnTo>
                <a:lnTo>
                  <a:pt x="3865" y="1645"/>
                </a:lnTo>
                <a:lnTo>
                  <a:pt x="3872" y="1651"/>
                </a:lnTo>
                <a:lnTo>
                  <a:pt x="3879" y="1657"/>
                </a:lnTo>
                <a:lnTo>
                  <a:pt x="3886" y="1662"/>
                </a:lnTo>
                <a:lnTo>
                  <a:pt x="3892" y="1669"/>
                </a:lnTo>
                <a:lnTo>
                  <a:pt x="3897" y="1676"/>
                </a:lnTo>
                <a:lnTo>
                  <a:pt x="3903" y="1683"/>
                </a:lnTo>
                <a:lnTo>
                  <a:pt x="3906" y="1691"/>
                </a:lnTo>
                <a:lnTo>
                  <a:pt x="3910" y="1700"/>
                </a:lnTo>
                <a:lnTo>
                  <a:pt x="3911" y="1710"/>
                </a:lnTo>
                <a:lnTo>
                  <a:pt x="3913" y="1719"/>
                </a:lnTo>
                <a:lnTo>
                  <a:pt x="3914" y="1728"/>
                </a:lnTo>
                <a:lnTo>
                  <a:pt x="3913" y="1737"/>
                </a:lnTo>
                <a:lnTo>
                  <a:pt x="3911" y="1747"/>
                </a:lnTo>
                <a:lnTo>
                  <a:pt x="3910" y="1756"/>
                </a:lnTo>
                <a:lnTo>
                  <a:pt x="3906" y="1765"/>
                </a:lnTo>
                <a:lnTo>
                  <a:pt x="3903" y="1772"/>
                </a:lnTo>
                <a:lnTo>
                  <a:pt x="3897" y="1781"/>
                </a:lnTo>
                <a:lnTo>
                  <a:pt x="3892" y="1788"/>
                </a:lnTo>
                <a:lnTo>
                  <a:pt x="3886" y="1795"/>
                </a:lnTo>
                <a:lnTo>
                  <a:pt x="3879" y="1800"/>
                </a:lnTo>
                <a:lnTo>
                  <a:pt x="3872" y="1806"/>
                </a:lnTo>
                <a:lnTo>
                  <a:pt x="3865" y="1810"/>
                </a:lnTo>
                <a:lnTo>
                  <a:pt x="3857" y="1814"/>
                </a:lnTo>
                <a:lnTo>
                  <a:pt x="3847" y="1818"/>
                </a:lnTo>
                <a:lnTo>
                  <a:pt x="3839" y="1820"/>
                </a:lnTo>
                <a:lnTo>
                  <a:pt x="3829" y="1821"/>
                </a:lnTo>
                <a:lnTo>
                  <a:pt x="3820" y="1823"/>
                </a:lnTo>
                <a:lnTo>
                  <a:pt x="3811" y="1821"/>
                </a:lnTo>
                <a:lnTo>
                  <a:pt x="3801" y="1820"/>
                </a:lnTo>
                <a:lnTo>
                  <a:pt x="3793" y="1818"/>
                </a:lnTo>
                <a:lnTo>
                  <a:pt x="3783" y="1814"/>
                </a:lnTo>
                <a:lnTo>
                  <a:pt x="3776" y="1810"/>
                </a:lnTo>
                <a:lnTo>
                  <a:pt x="3767" y="1806"/>
                </a:lnTo>
                <a:lnTo>
                  <a:pt x="3760" y="1800"/>
                </a:lnTo>
                <a:lnTo>
                  <a:pt x="3753" y="1795"/>
                </a:lnTo>
                <a:lnTo>
                  <a:pt x="3748" y="1788"/>
                </a:lnTo>
                <a:lnTo>
                  <a:pt x="3742" y="1781"/>
                </a:lnTo>
                <a:lnTo>
                  <a:pt x="3737" y="1772"/>
                </a:lnTo>
                <a:lnTo>
                  <a:pt x="3734" y="1765"/>
                </a:lnTo>
                <a:lnTo>
                  <a:pt x="3730" y="1756"/>
                </a:lnTo>
                <a:lnTo>
                  <a:pt x="3728" y="1747"/>
                </a:lnTo>
                <a:lnTo>
                  <a:pt x="3727" y="1737"/>
                </a:lnTo>
                <a:lnTo>
                  <a:pt x="3726" y="1728"/>
                </a:lnTo>
                <a:close/>
                <a:moveTo>
                  <a:pt x="1529" y="3594"/>
                </a:moveTo>
                <a:lnTo>
                  <a:pt x="1529" y="3594"/>
                </a:lnTo>
                <a:lnTo>
                  <a:pt x="1529" y="3584"/>
                </a:lnTo>
                <a:lnTo>
                  <a:pt x="1531" y="3575"/>
                </a:lnTo>
                <a:lnTo>
                  <a:pt x="1533" y="3566"/>
                </a:lnTo>
                <a:lnTo>
                  <a:pt x="1536" y="3557"/>
                </a:lnTo>
                <a:lnTo>
                  <a:pt x="1540" y="3549"/>
                </a:lnTo>
                <a:lnTo>
                  <a:pt x="1545" y="3542"/>
                </a:lnTo>
                <a:lnTo>
                  <a:pt x="1550" y="3534"/>
                </a:lnTo>
                <a:lnTo>
                  <a:pt x="1556" y="3528"/>
                </a:lnTo>
                <a:lnTo>
                  <a:pt x="1563" y="3521"/>
                </a:lnTo>
                <a:lnTo>
                  <a:pt x="1570" y="3515"/>
                </a:lnTo>
                <a:lnTo>
                  <a:pt x="1578" y="3511"/>
                </a:lnTo>
                <a:lnTo>
                  <a:pt x="1586" y="3507"/>
                </a:lnTo>
                <a:lnTo>
                  <a:pt x="1595" y="3504"/>
                </a:lnTo>
                <a:lnTo>
                  <a:pt x="1603" y="3501"/>
                </a:lnTo>
                <a:lnTo>
                  <a:pt x="1613" y="3500"/>
                </a:lnTo>
                <a:lnTo>
                  <a:pt x="1623" y="3500"/>
                </a:lnTo>
                <a:lnTo>
                  <a:pt x="1633" y="3500"/>
                </a:lnTo>
                <a:lnTo>
                  <a:pt x="1641" y="3501"/>
                </a:lnTo>
                <a:lnTo>
                  <a:pt x="1651" y="3504"/>
                </a:lnTo>
                <a:lnTo>
                  <a:pt x="1659" y="3507"/>
                </a:lnTo>
                <a:lnTo>
                  <a:pt x="1667" y="3511"/>
                </a:lnTo>
                <a:lnTo>
                  <a:pt x="1674" y="3515"/>
                </a:lnTo>
                <a:lnTo>
                  <a:pt x="1681" y="3521"/>
                </a:lnTo>
                <a:lnTo>
                  <a:pt x="1688" y="3528"/>
                </a:lnTo>
                <a:lnTo>
                  <a:pt x="1694" y="3534"/>
                </a:lnTo>
                <a:lnTo>
                  <a:pt x="1700" y="3542"/>
                </a:lnTo>
                <a:lnTo>
                  <a:pt x="1705" y="3549"/>
                </a:lnTo>
                <a:lnTo>
                  <a:pt x="1709" y="3557"/>
                </a:lnTo>
                <a:lnTo>
                  <a:pt x="1712" y="3566"/>
                </a:lnTo>
                <a:lnTo>
                  <a:pt x="1713" y="3575"/>
                </a:lnTo>
                <a:lnTo>
                  <a:pt x="1715" y="3584"/>
                </a:lnTo>
                <a:lnTo>
                  <a:pt x="1716" y="3594"/>
                </a:lnTo>
                <a:lnTo>
                  <a:pt x="1715" y="3603"/>
                </a:lnTo>
                <a:lnTo>
                  <a:pt x="1713" y="3613"/>
                </a:lnTo>
                <a:lnTo>
                  <a:pt x="1712" y="3621"/>
                </a:lnTo>
                <a:lnTo>
                  <a:pt x="1709" y="3630"/>
                </a:lnTo>
                <a:lnTo>
                  <a:pt x="1705" y="3638"/>
                </a:lnTo>
                <a:lnTo>
                  <a:pt x="1700" y="3647"/>
                </a:lnTo>
                <a:lnTo>
                  <a:pt x="1694" y="3654"/>
                </a:lnTo>
                <a:lnTo>
                  <a:pt x="1688" y="3661"/>
                </a:lnTo>
                <a:lnTo>
                  <a:pt x="1681" y="3666"/>
                </a:lnTo>
                <a:lnTo>
                  <a:pt x="1674" y="3672"/>
                </a:lnTo>
                <a:lnTo>
                  <a:pt x="1667" y="3676"/>
                </a:lnTo>
                <a:lnTo>
                  <a:pt x="1659" y="3680"/>
                </a:lnTo>
                <a:lnTo>
                  <a:pt x="1651" y="3683"/>
                </a:lnTo>
                <a:lnTo>
                  <a:pt x="1641" y="3686"/>
                </a:lnTo>
                <a:lnTo>
                  <a:pt x="1633" y="3687"/>
                </a:lnTo>
                <a:lnTo>
                  <a:pt x="1623" y="3687"/>
                </a:lnTo>
                <a:lnTo>
                  <a:pt x="1613" y="3687"/>
                </a:lnTo>
                <a:lnTo>
                  <a:pt x="1603" y="3686"/>
                </a:lnTo>
                <a:lnTo>
                  <a:pt x="1595" y="3683"/>
                </a:lnTo>
                <a:lnTo>
                  <a:pt x="1586" y="3680"/>
                </a:lnTo>
                <a:lnTo>
                  <a:pt x="1578" y="3676"/>
                </a:lnTo>
                <a:lnTo>
                  <a:pt x="1570" y="3672"/>
                </a:lnTo>
                <a:lnTo>
                  <a:pt x="1563" y="3666"/>
                </a:lnTo>
                <a:lnTo>
                  <a:pt x="1556" y="3661"/>
                </a:lnTo>
                <a:lnTo>
                  <a:pt x="1550" y="3654"/>
                </a:lnTo>
                <a:lnTo>
                  <a:pt x="1545" y="3647"/>
                </a:lnTo>
                <a:lnTo>
                  <a:pt x="1540" y="3638"/>
                </a:lnTo>
                <a:lnTo>
                  <a:pt x="1536" y="3630"/>
                </a:lnTo>
                <a:lnTo>
                  <a:pt x="1533" y="3621"/>
                </a:lnTo>
                <a:lnTo>
                  <a:pt x="1531" y="3613"/>
                </a:lnTo>
                <a:lnTo>
                  <a:pt x="1529" y="3603"/>
                </a:lnTo>
                <a:lnTo>
                  <a:pt x="1529" y="3594"/>
                </a:lnTo>
                <a:close/>
                <a:moveTo>
                  <a:pt x="3202" y="1530"/>
                </a:moveTo>
                <a:lnTo>
                  <a:pt x="3202" y="1531"/>
                </a:lnTo>
                <a:lnTo>
                  <a:pt x="2800" y="1530"/>
                </a:lnTo>
                <a:lnTo>
                  <a:pt x="2799" y="1523"/>
                </a:lnTo>
                <a:lnTo>
                  <a:pt x="2799" y="1509"/>
                </a:lnTo>
                <a:lnTo>
                  <a:pt x="2799" y="1471"/>
                </a:lnTo>
                <a:lnTo>
                  <a:pt x="2800" y="1418"/>
                </a:lnTo>
                <a:lnTo>
                  <a:pt x="3206" y="1418"/>
                </a:lnTo>
                <a:lnTo>
                  <a:pt x="3206" y="1530"/>
                </a:lnTo>
                <a:lnTo>
                  <a:pt x="3202" y="1530"/>
                </a:lnTo>
                <a:close/>
                <a:moveTo>
                  <a:pt x="3726" y="3282"/>
                </a:moveTo>
                <a:lnTo>
                  <a:pt x="3726" y="3282"/>
                </a:lnTo>
                <a:lnTo>
                  <a:pt x="3727" y="3273"/>
                </a:lnTo>
                <a:lnTo>
                  <a:pt x="3728" y="3264"/>
                </a:lnTo>
                <a:lnTo>
                  <a:pt x="3730" y="3254"/>
                </a:lnTo>
                <a:lnTo>
                  <a:pt x="3734" y="3246"/>
                </a:lnTo>
                <a:lnTo>
                  <a:pt x="3737" y="3238"/>
                </a:lnTo>
                <a:lnTo>
                  <a:pt x="3742" y="3231"/>
                </a:lnTo>
                <a:lnTo>
                  <a:pt x="3748" y="3224"/>
                </a:lnTo>
                <a:lnTo>
                  <a:pt x="3753" y="3217"/>
                </a:lnTo>
                <a:lnTo>
                  <a:pt x="3760" y="3211"/>
                </a:lnTo>
                <a:lnTo>
                  <a:pt x="3767" y="3206"/>
                </a:lnTo>
                <a:lnTo>
                  <a:pt x="3776" y="3200"/>
                </a:lnTo>
                <a:lnTo>
                  <a:pt x="3783" y="3196"/>
                </a:lnTo>
                <a:lnTo>
                  <a:pt x="3793" y="3193"/>
                </a:lnTo>
                <a:lnTo>
                  <a:pt x="3801" y="3192"/>
                </a:lnTo>
                <a:lnTo>
                  <a:pt x="3811" y="3190"/>
                </a:lnTo>
                <a:lnTo>
                  <a:pt x="3820" y="3189"/>
                </a:lnTo>
                <a:lnTo>
                  <a:pt x="3829" y="3190"/>
                </a:lnTo>
                <a:lnTo>
                  <a:pt x="3839" y="3192"/>
                </a:lnTo>
                <a:lnTo>
                  <a:pt x="3847" y="3193"/>
                </a:lnTo>
                <a:lnTo>
                  <a:pt x="3857" y="3196"/>
                </a:lnTo>
                <a:lnTo>
                  <a:pt x="3865" y="3200"/>
                </a:lnTo>
                <a:lnTo>
                  <a:pt x="3872" y="3206"/>
                </a:lnTo>
                <a:lnTo>
                  <a:pt x="3879" y="3211"/>
                </a:lnTo>
                <a:lnTo>
                  <a:pt x="3886" y="3217"/>
                </a:lnTo>
                <a:lnTo>
                  <a:pt x="3892" y="3224"/>
                </a:lnTo>
                <a:lnTo>
                  <a:pt x="3897" y="3231"/>
                </a:lnTo>
                <a:lnTo>
                  <a:pt x="3903" y="3238"/>
                </a:lnTo>
                <a:lnTo>
                  <a:pt x="3906" y="3246"/>
                </a:lnTo>
                <a:lnTo>
                  <a:pt x="3910" y="3254"/>
                </a:lnTo>
                <a:lnTo>
                  <a:pt x="3911" y="3264"/>
                </a:lnTo>
                <a:lnTo>
                  <a:pt x="3913" y="3273"/>
                </a:lnTo>
                <a:lnTo>
                  <a:pt x="3914" y="3282"/>
                </a:lnTo>
                <a:lnTo>
                  <a:pt x="3913" y="3292"/>
                </a:lnTo>
                <a:lnTo>
                  <a:pt x="3911" y="3302"/>
                </a:lnTo>
                <a:lnTo>
                  <a:pt x="3910" y="3310"/>
                </a:lnTo>
                <a:lnTo>
                  <a:pt x="3906" y="3319"/>
                </a:lnTo>
                <a:lnTo>
                  <a:pt x="3903" y="3327"/>
                </a:lnTo>
                <a:lnTo>
                  <a:pt x="3897" y="3335"/>
                </a:lnTo>
                <a:lnTo>
                  <a:pt x="3892" y="3342"/>
                </a:lnTo>
                <a:lnTo>
                  <a:pt x="3886" y="3349"/>
                </a:lnTo>
                <a:lnTo>
                  <a:pt x="3879" y="3355"/>
                </a:lnTo>
                <a:lnTo>
                  <a:pt x="3872" y="3360"/>
                </a:lnTo>
                <a:lnTo>
                  <a:pt x="3865" y="3365"/>
                </a:lnTo>
                <a:lnTo>
                  <a:pt x="3857" y="3369"/>
                </a:lnTo>
                <a:lnTo>
                  <a:pt x="3847" y="3372"/>
                </a:lnTo>
                <a:lnTo>
                  <a:pt x="3839" y="3374"/>
                </a:lnTo>
                <a:lnTo>
                  <a:pt x="3829" y="3376"/>
                </a:lnTo>
                <a:lnTo>
                  <a:pt x="3820" y="3376"/>
                </a:lnTo>
                <a:lnTo>
                  <a:pt x="3811" y="3376"/>
                </a:lnTo>
                <a:lnTo>
                  <a:pt x="3801" y="3374"/>
                </a:lnTo>
                <a:lnTo>
                  <a:pt x="3793" y="3372"/>
                </a:lnTo>
                <a:lnTo>
                  <a:pt x="3783" y="3369"/>
                </a:lnTo>
                <a:lnTo>
                  <a:pt x="3776" y="3365"/>
                </a:lnTo>
                <a:lnTo>
                  <a:pt x="3767" y="3360"/>
                </a:lnTo>
                <a:lnTo>
                  <a:pt x="3760" y="3355"/>
                </a:lnTo>
                <a:lnTo>
                  <a:pt x="3753" y="3349"/>
                </a:lnTo>
                <a:lnTo>
                  <a:pt x="3748" y="3342"/>
                </a:lnTo>
                <a:lnTo>
                  <a:pt x="3742" y="3335"/>
                </a:lnTo>
                <a:lnTo>
                  <a:pt x="3737" y="3327"/>
                </a:lnTo>
                <a:lnTo>
                  <a:pt x="3734" y="3319"/>
                </a:lnTo>
                <a:lnTo>
                  <a:pt x="3730" y="3310"/>
                </a:lnTo>
                <a:lnTo>
                  <a:pt x="3728" y="3302"/>
                </a:lnTo>
                <a:lnTo>
                  <a:pt x="3727" y="3292"/>
                </a:lnTo>
                <a:lnTo>
                  <a:pt x="3726" y="3282"/>
                </a:lnTo>
                <a:close/>
                <a:moveTo>
                  <a:pt x="3726" y="3594"/>
                </a:moveTo>
                <a:lnTo>
                  <a:pt x="3726" y="3594"/>
                </a:lnTo>
                <a:lnTo>
                  <a:pt x="3727" y="3584"/>
                </a:lnTo>
                <a:lnTo>
                  <a:pt x="3728" y="3575"/>
                </a:lnTo>
                <a:lnTo>
                  <a:pt x="3730" y="3566"/>
                </a:lnTo>
                <a:lnTo>
                  <a:pt x="3734" y="3557"/>
                </a:lnTo>
                <a:lnTo>
                  <a:pt x="3737" y="3549"/>
                </a:lnTo>
                <a:lnTo>
                  <a:pt x="3742" y="3542"/>
                </a:lnTo>
                <a:lnTo>
                  <a:pt x="3748" y="3534"/>
                </a:lnTo>
                <a:lnTo>
                  <a:pt x="3753" y="3528"/>
                </a:lnTo>
                <a:lnTo>
                  <a:pt x="3760" y="3521"/>
                </a:lnTo>
                <a:lnTo>
                  <a:pt x="3767" y="3515"/>
                </a:lnTo>
                <a:lnTo>
                  <a:pt x="3776" y="3511"/>
                </a:lnTo>
                <a:lnTo>
                  <a:pt x="3783" y="3507"/>
                </a:lnTo>
                <a:lnTo>
                  <a:pt x="3793" y="3504"/>
                </a:lnTo>
                <a:lnTo>
                  <a:pt x="3801" y="3501"/>
                </a:lnTo>
                <a:lnTo>
                  <a:pt x="3811" y="3500"/>
                </a:lnTo>
                <a:lnTo>
                  <a:pt x="3820" y="3500"/>
                </a:lnTo>
                <a:lnTo>
                  <a:pt x="3829" y="3500"/>
                </a:lnTo>
                <a:lnTo>
                  <a:pt x="3839" y="3501"/>
                </a:lnTo>
                <a:lnTo>
                  <a:pt x="3847" y="3504"/>
                </a:lnTo>
                <a:lnTo>
                  <a:pt x="3857" y="3507"/>
                </a:lnTo>
                <a:lnTo>
                  <a:pt x="3865" y="3511"/>
                </a:lnTo>
                <a:lnTo>
                  <a:pt x="3872" y="3515"/>
                </a:lnTo>
                <a:lnTo>
                  <a:pt x="3879" y="3521"/>
                </a:lnTo>
                <a:lnTo>
                  <a:pt x="3886" y="3528"/>
                </a:lnTo>
                <a:lnTo>
                  <a:pt x="3892" y="3534"/>
                </a:lnTo>
                <a:lnTo>
                  <a:pt x="3897" y="3542"/>
                </a:lnTo>
                <a:lnTo>
                  <a:pt x="3903" y="3549"/>
                </a:lnTo>
                <a:lnTo>
                  <a:pt x="3906" y="3557"/>
                </a:lnTo>
                <a:lnTo>
                  <a:pt x="3910" y="3566"/>
                </a:lnTo>
                <a:lnTo>
                  <a:pt x="3911" y="3575"/>
                </a:lnTo>
                <a:lnTo>
                  <a:pt x="3913" y="3584"/>
                </a:lnTo>
                <a:lnTo>
                  <a:pt x="3914" y="3594"/>
                </a:lnTo>
                <a:lnTo>
                  <a:pt x="3913" y="3603"/>
                </a:lnTo>
                <a:lnTo>
                  <a:pt x="3911" y="3613"/>
                </a:lnTo>
                <a:lnTo>
                  <a:pt x="3910" y="3621"/>
                </a:lnTo>
                <a:lnTo>
                  <a:pt x="3906" y="3630"/>
                </a:lnTo>
                <a:lnTo>
                  <a:pt x="3903" y="3638"/>
                </a:lnTo>
                <a:lnTo>
                  <a:pt x="3897" y="3647"/>
                </a:lnTo>
                <a:lnTo>
                  <a:pt x="3892" y="3654"/>
                </a:lnTo>
                <a:lnTo>
                  <a:pt x="3886" y="3661"/>
                </a:lnTo>
                <a:lnTo>
                  <a:pt x="3879" y="3666"/>
                </a:lnTo>
                <a:lnTo>
                  <a:pt x="3872" y="3672"/>
                </a:lnTo>
                <a:lnTo>
                  <a:pt x="3865" y="3676"/>
                </a:lnTo>
                <a:lnTo>
                  <a:pt x="3857" y="3680"/>
                </a:lnTo>
                <a:lnTo>
                  <a:pt x="3847" y="3683"/>
                </a:lnTo>
                <a:lnTo>
                  <a:pt x="3839" y="3686"/>
                </a:lnTo>
                <a:lnTo>
                  <a:pt x="3829" y="3687"/>
                </a:lnTo>
                <a:lnTo>
                  <a:pt x="3820" y="3687"/>
                </a:lnTo>
                <a:lnTo>
                  <a:pt x="3811" y="3687"/>
                </a:lnTo>
                <a:lnTo>
                  <a:pt x="3801" y="3686"/>
                </a:lnTo>
                <a:lnTo>
                  <a:pt x="3793" y="3683"/>
                </a:lnTo>
                <a:lnTo>
                  <a:pt x="3783" y="3680"/>
                </a:lnTo>
                <a:lnTo>
                  <a:pt x="3776" y="3676"/>
                </a:lnTo>
                <a:lnTo>
                  <a:pt x="3767" y="3672"/>
                </a:lnTo>
                <a:lnTo>
                  <a:pt x="3760" y="3666"/>
                </a:lnTo>
                <a:lnTo>
                  <a:pt x="3753" y="3661"/>
                </a:lnTo>
                <a:lnTo>
                  <a:pt x="3748" y="3654"/>
                </a:lnTo>
                <a:lnTo>
                  <a:pt x="3742" y="3647"/>
                </a:lnTo>
                <a:lnTo>
                  <a:pt x="3737" y="3638"/>
                </a:lnTo>
                <a:lnTo>
                  <a:pt x="3734" y="3630"/>
                </a:lnTo>
                <a:lnTo>
                  <a:pt x="3730" y="3621"/>
                </a:lnTo>
                <a:lnTo>
                  <a:pt x="3728" y="3613"/>
                </a:lnTo>
                <a:lnTo>
                  <a:pt x="3727" y="3603"/>
                </a:lnTo>
                <a:lnTo>
                  <a:pt x="3726" y="3594"/>
                </a:lnTo>
                <a:close/>
                <a:moveTo>
                  <a:pt x="3726" y="3905"/>
                </a:moveTo>
                <a:lnTo>
                  <a:pt x="3726" y="3905"/>
                </a:lnTo>
                <a:lnTo>
                  <a:pt x="3727" y="3895"/>
                </a:lnTo>
                <a:lnTo>
                  <a:pt x="3728" y="3885"/>
                </a:lnTo>
                <a:lnTo>
                  <a:pt x="3730" y="3877"/>
                </a:lnTo>
                <a:lnTo>
                  <a:pt x="3734" y="3868"/>
                </a:lnTo>
                <a:lnTo>
                  <a:pt x="3737" y="3860"/>
                </a:lnTo>
                <a:lnTo>
                  <a:pt x="3742" y="3852"/>
                </a:lnTo>
                <a:lnTo>
                  <a:pt x="3748" y="3845"/>
                </a:lnTo>
                <a:lnTo>
                  <a:pt x="3753" y="3838"/>
                </a:lnTo>
                <a:lnTo>
                  <a:pt x="3760" y="3832"/>
                </a:lnTo>
                <a:lnTo>
                  <a:pt x="3767" y="3827"/>
                </a:lnTo>
                <a:lnTo>
                  <a:pt x="3776" y="3822"/>
                </a:lnTo>
                <a:lnTo>
                  <a:pt x="3783" y="3818"/>
                </a:lnTo>
                <a:lnTo>
                  <a:pt x="3793" y="3815"/>
                </a:lnTo>
                <a:lnTo>
                  <a:pt x="3801" y="3813"/>
                </a:lnTo>
                <a:lnTo>
                  <a:pt x="3811" y="3811"/>
                </a:lnTo>
                <a:lnTo>
                  <a:pt x="3820" y="3811"/>
                </a:lnTo>
                <a:lnTo>
                  <a:pt x="3829" y="3811"/>
                </a:lnTo>
                <a:lnTo>
                  <a:pt x="3839" y="3813"/>
                </a:lnTo>
                <a:lnTo>
                  <a:pt x="3847" y="3815"/>
                </a:lnTo>
                <a:lnTo>
                  <a:pt x="3857" y="3818"/>
                </a:lnTo>
                <a:lnTo>
                  <a:pt x="3865" y="3822"/>
                </a:lnTo>
                <a:lnTo>
                  <a:pt x="3872" y="3827"/>
                </a:lnTo>
                <a:lnTo>
                  <a:pt x="3879" y="3832"/>
                </a:lnTo>
                <a:lnTo>
                  <a:pt x="3886" y="3838"/>
                </a:lnTo>
                <a:lnTo>
                  <a:pt x="3892" y="3845"/>
                </a:lnTo>
                <a:lnTo>
                  <a:pt x="3897" y="3852"/>
                </a:lnTo>
                <a:lnTo>
                  <a:pt x="3903" y="3860"/>
                </a:lnTo>
                <a:lnTo>
                  <a:pt x="3906" y="3868"/>
                </a:lnTo>
                <a:lnTo>
                  <a:pt x="3910" y="3877"/>
                </a:lnTo>
                <a:lnTo>
                  <a:pt x="3911" y="3885"/>
                </a:lnTo>
                <a:lnTo>
                  <a:pt x="3913" y="3895"/>
                </a:lnTo>
                <a:lnTo>
                  <a:pt x="3914" y="3905"/>
                </a:lnTo>
                <a:lnTo>
                  <a:pt x="3913" y="3915"/>
                </a:lnTo>
                <a:lnTo>
                  <a:pt x="3911" y="3923"/>
                </a:lnTo>
                <a:lnTo>
                  <a:pt x="3910" y="3933"/>
                </a:lnTo>
                <a:lnTo>
                  <a:pt x="3906" y="3941"/>
                </a:lnTo>
                <a:lnTo>
                  <a:pt x="3903" y="3949"/>
                </a:lnTo>
                <a:lnTo>
                  <a:pt x="3897" y="3956"/>
                </a:lnTo>
                <a:lnTo>
                  <a:pt x="3892" y="3965"/>
                </a:lnTo>
                <a:lnTo>
                  <a:pt x="3886" y="3970"/>
                </a:lnTo>
                <a:lnTo>
                  <a:pt x="3879" y="3977"/>
                </a:lnTo>
                <a:lnTo>
                  <a:pt x="3872" y="3983"/>
                </a:lnTo>
                <a:lnTo>
                  <a:pt x="3865" y="3987"/>
                </a:lnTo>
                <a:lnTo>
                  <a:pt x="3857" y="3991"/>
                </a:lnTo>
                <a:lnTo>
                  <a:pt x="3847" y="3994"/>
                </a:lnTo>
                <a:lnTo>
                  <a:pt x="3839" y="3997"/>
                </a:lnTo>
                <a:lnTo>
                  <a:pt x="3829" y="3998"/>
                </a:lnTo>
                <a:lnTo>
                  <a:pt x="3820" y="3998"/>
                </a:lnTo>
                <a:lnTo>
                  <a:pt x="3811" y="3998"/>
                </a:lnTo>
                <a:lnTo>
                  <a:pt x="3801" y="3997"/>
                </a:lnTo>
                <a:lnTo>
                  <a:pt x="3793" y="3994"/>
                </a:lnTo>
                <a:lnTo>
                  <a:pt x="3783" y="3991"/>
                </a:lnTo>
                <a:lnTo>
                  <a:pt x="3776" y="3987"/>
                </a:lnTo>
                <a:lnTo>
                  <a:pt x="3767" y="3983"/>
                </a:lnTo>
                <a:lnTo>
                  <a:pt x="3760" y="3977"/>
                </a:lnTo>
                <a:lnTo>
                  <a:pt x="3753" y="3970"/>
                </a:lnTo>
                <a:lnTo>
                  <a:pt x="3748" y="3965"/>
                </a:lnTo>
                <a:lnTo>
                  <a:pt x="3742" y="3956"/>
                </a:lnTo>
                <a:lnTo>
                  <a:pt x="3737" y="3949"/>
                </a:lnTo>
                <a:lnTo>
                  <a:pt x="3734" y="3941"/>
                </a:lnTo>
                <a:lnTo>
                  <a:pt x="3730" y="3933"/>
                </a:lnTo>
                <a:lnTo>
                  <a:pt x="3728" y="3923"/>
                </a:lnTo>
                <a:lnTo>
                  <a:pt x="3727" y="3915"/>
                </a:lnTo>
                <a:lnTo>
                  <a:pt x="3726" y="3905"/>
                </a:lnTo>
                <a:close/>
                <a:moveTo>
                  <a:pt x="2318" y="2446"/>
                </a:moveTo>
                <a:lnTo>
                  <a:pt x="3162" y="2446"/>
                </a:lnTo>
                <a:lnTo>
                  <a:pt x="3162" y="2558"/>
                </a:lnTo>
                <a:lnTo>
                  <a:pt x="2245" y="2558"/>
                </a:lnTo>
                <a:lnTo>
                  <a:pt x="2318" y="2446"/>
                </a:lnTo>
                <a:close/>
                <a:moveTo>
                  <a:pt x="3437" y="1915"/>
                </a:moveTo>
                <a:lnTo>
                  <a:pt x="3437" y="2026"/>
                </a:lnTo>
                <a:lnTo>
                  <a:pt x="2676" y="2026"/>
                </a:lnTo>
                <a:lnTo>
                  <a:pt x="2763" y="1915"/>
                </a:lnTo>
                <a:lnTo>
                  <a:pt x="3437" y="1915"/>
                </a:lnTo>
                <a:close/>
                <a:moveTo>
                  <a:pt x="1136" y="0"/>
                </a:moveTo>
                <a:lnTo>
                  <a:pt x="3479" y="0"/>
                </a:lnTo>
                <a:lnTo>
                  <a:pt x="4306" y="828"/>
                </a:lnTo>
                <a:lnTo>
                  <a:pt x="4306" y="4390"/>
                </a:lnTo>
                <a:lnTo>
                  <a:pt x="3572" y="4390"/>
                </a:lnTo>
                <a:lnTo>
                  <a:pt x="3572" y="4763"/>
                </a:lnTo>
                <a:lnTo>
                  <a:pt x="3194" y="4561"/>
                </a:lnTo>
                <a:lnTo>
                  <a:pt x="2814" y="4763"/>
                </a:lnTo>
                <a:lnTo>
                  <a:pt x="2814" y="4390"/>
                </a:lnTo>
                <a:lnTo>
                  <a:pt x="1136" y="4390"/>
                </a:lnTo>
                <a:lnTo>
                  <a:pt x="1136" y="3667"/>
                </a:lnTo>
                <a:lnTo>
                  <a:pt x="978" y="3825"/>
                </a:lnTo>
                <a:lnTo>
                  <a:pt x="971" y="3832"/>
                </a:lnTo>
                <a:lnTo>
                  <a:pt x="964" y="3838"/>
                </a:lnTo>
                <a:lnTo>
                  <a:pt x="956" y="3842"/>
                </a:lnTo>
                <a:lnTo>
                  <a:pt x="949" y="3846"/>
                </a:lnTo>
                <a:lnTo>
                  <a:pt x="931" y="3852"/>
                </a:lnTo>
                <a:lnTo>
                  <a:pt x="922" y="3853"/>
                </a:lnTo>
                <a:lnTo>
                  <a:pt x="914" y="3853"/>
                </a:lnTo>
                <a:lnTo>
                  <a:pt x="904" y="3853"/>
                </a:lnTo>
                <a:lnTo>
                  <a:pt x="896" y="3852"/>
                </a:lnTo>
                <a:lnTo>
                  <a:pt x="887" y="3850"/>
                </a:lnTo>
                <a:lnTo>
                  <a:pt x="880" y="3848"/>
                </a:lnTo>
                <a:lnTo>
                  <a:pt x="872" y="3843"/>
                </a:lnTo>
                <a:lnTo>
                  <a:pt x="865" y="3839"/>
                </a:lnTo>
                <a:lnTo>
                  <a:pt x="860" y="3832"/>
                </a:lnTo>
                <a:lnTo>
                  <a:pt x="854" y="3825"/>
                </a:lnTo>
                <a:lnTo>
                  <a:pt x="0" y="2579"/>
                </a:lnTo>
                <a:lnTo>
                  <a:pt x="247" y="2332"/>
                </a:lnTo>
                <a:lnTo>
                  <a:pt x="1359" y="3433"/>
                </a:lnTo>
                <a:lnTo>
                  <a:pt x="1359" y="4167"/>
                </a:lnTo>
                <a:lnTo>
                  <a:pt x="2814" y="4167"/>
                </a:lnTo>
                <a:lnTo>
                  <a:pt x="2814" y="4008"/>
                </a:lnTo>
                <a:lnTo>
                  <a:pt x="2792" y="3977"/>
                </a:lnTo>
                <a:lnTo>
                  <a:pt x="2771" y="3944"/>
                </a:lnTo>
                <a:lnTo>
                  <a:pt x="2754" y="3909"/>
                </a:lnTo>
                <a:lnTo>
                  <a:pt x="2739" y="3873"/>
                </a:lnTo>
                <a:lnTo>
                  <a:pt x="2728" y="3834"/>
                </a:lnTo>
                <a:lnTo>
                  <a:pt x="2724" y="3815"/>
                </a:lnTo>
                <a:lnTo>
                  <a:pt x="2720" y="3794"/>
                </a:lnTo>
                <a:lnTo>
                  <a:pt x="2717" y="3775"/>
                </a:lnTo>
                <a:lnTo>
                  <a:pt x="2714" y="3755"/>
                </a:lnTo>
                <a:lnTo>
                  <a:pt x="2714" y="3734"/>
                </a:lnTo>
                <a:lnTo>
                  <a:pt x="2713" y="3714"/>
                </a:lnTo>
                <a:lnTo>
                  <a:pt x="2714" y="3688"/>
                </a:lnTo>
                <a:lnTo>
                  <a:pt x="2715" y="3665"/>
                </a:lnTo>
                <a:lnTo>
                  <a:pt x="2718" y="3641"/>
                </a:lnTo>
                <a:lnTo>
                  <a:pt x="2722" y="3617"/>
                </a:lnTo>
                <a:lnTo>
                  <a:pt x="2728" y="3594"/>
                </a:lnTo>
                <a:lnTo>
                  <a:pt x="2735" y="3571"/>
                </a:lnTo>
                <a:lnTo>
                  <a:pt x="2742" y="3549"/>
                </a:lnTo>
                <a:lnTo>
                  <a:pt x="2750" y="3527"/>
                </a:lnTo>
                <a:lnTo>
                  <a:pt x="2760" y="3506"/>
                </a:lnTo>
                <a:lnTo>
                  <a:pt x="2771" y="3485"/>
                </a:lnTo>
                <a:lnTo>
                  <a:pt x="2782" y="3464"/>
                </a:lnTo>
                <a:lnTo>
                  <a:pt x="2795" y="3444"/>
                </a:lnTo>
                <a:lnTo>
                  <a:pt x="2809" y="3426"/>
                </a:lnTo>
                <a:lnTo>
                  <a:pt x="2823" y="3408"/>
                </a:lnTo>
                <a:lnTo>
                  <a:pt x="2838" y="3390"/>
                </a:lnTo>
                <a:lnTo>
                  <a:pt x="2853" y="3373"/>
                </a:lnTo>
                <a:lnTo>
                  <a:pt x="2870" y="3358"/>
                </a:lnTo>
                <a:lnTo>
                  <a:pt x="2888" y="3342"/>
                </a:lnTo>
                <a:lnTo>
                  <a:pt x="2906" y="3328"/>
                </a:lnTo>
                <a:lnTo>
                  <a:pt x="2925" y="3314"/>
                </a:lnTo>
                <a:lnTo>
                  <a:pt x="2944" y="3302"/>
                </a:lnTo>
                <a:lnTo>
                  <a:pt x="2964" y="3291"/>
                </a:lnTo>
                <a:lnTo>
                  <a:pt x="2985" y="3281"/>
                </a:lnTo>
                <a:lnTo>
                  <a:pt x="3007" y="3271"/>
                </a:lnTo>
                <a:lnTo>
                  <a:pt x="3028" y="3261"/>
                </a:lnTo>
                <a:lnTo>
                  <a:pt x="3050" y="3254"/>
                </a:lnTo>
                <a:lnTo>
                  <a:pt x="3074" y="3247"/>
                </a:lnTo>
                <a:lnTo>
                  <a:pt x="3096" y="3243"/>
                </a:lnTo>
                <a:lnTo>
                  <a:pt x="3120" y="3239"/>
                </a:lnTo>
                <a:lnTo>
                  <a:pt x="3144" y="3235"/>
                </a:lnTo>
                <a:lnTo>
                  <a:pt x="3169" y="3233"/>
                </a:lnTo>
                <a:lnTo>
                  <a:pt x="3194" y="3233"/>
                </a:lnTo>
                <a:lnTo>
                  <a:pt x="3218" y="3233"/>
                </a:lnTo>
                <a:lnTo>
                  <a:pt x="3243" y="3235"/>
                </a:lnTo>
                <a:lnTo>
                  <a:pt x="3266" y="3239"/>
                </a:lnTo>
                <a:lnTo>
                  <a:pt x="3290" y="3243"/>
                </a:lnTo>
                <a:lnTo>
                  <a:pt x="3314" y="3247"/>
                </a:lnTo>
                <a:lnTo>
                  <a:pt x="3336" y="3254"/>
                </a:lnTo>
                <a:lnTo>
                  <a:pt x="3359" y="3261"/>
                </a:lnTo>
                <a:lnTo>
                  <a:pt x="3381" y="3271"/>
                </a:lnTo>
                <a:lnTo>
                  <a:pt x="3402" y="3281"/>
                </a:lnTo>
                <a:lnTo>
                  <a:pt x="3423" y="3291"/>
                </a:lnTo>
                <a:lnTo>
                  <a:pt x="3442" y="3302"/>
                </a:lnTo>
                <a:lnTo>
                  <a:pt x="3462" y="3314"/>
                </a:lnTo>
                <a:lnTo>
                  <a:pt x="3481" y="3328"/>
                </a:lnTo>
                <a:lnTo>
                  <a:pt x="3499" y="3342"/>
                </a:lnTo>
                <a:lnTo>
                  <a:pt x="3516" y="3358"/>
                </a:lnTo>
                <a:lnTo>
                  <a:pt x="3533" y="3373"/>
                </a:lnTo>
                <a:lnTo>
                  <a:pt x="3548" y="3390"/>
                </a:lnTo>
                <a:lnTo>
                  <a:pt x="3564" y="3408"/>
                </a:lnTo>
                <a:lnTo>
                  <a:pt x="3579" y="3426"/>
                </a:lnTo>
                <a:lnTo>
                  <a:pt x="3592" y="3444"/>
                </a:lnTo>
                <a:lnTo>
                  <a:pt x="3604" y="3464"/>
                </a:lnTo>
                <a:lnTo>
                  <a:pt x="3615" y="3485"/>
                </a:lnTo>
                <a:lnTo>
                  <a:pt x="3626" y="3506"/>
                </a:lnTo>
                <a:lnTo>
                  <a:pt x="3636" y="3527"/>
                </a:lnTo>
                <a:lnTo>
                  <a:pt x="3645" y="3549"/>
                </a:lnTo>
                <a:lnTo>
                  <a:pt x="3652" y="3571"/>
                </a:lnTo>
                <a:lnTo>
                  <a:pt x="3659" y="3594"/>
                </a:lnTo>
                <a:lnTo>
                  <a:pt x="3664" y="3617"/>
                </a:lnTo>
                <a:lnTo>
                  <a:pt x="3668" y="3641"/>
                </a:lnTo>
                <a:lnTo>
                  <a:pt x="3671" y="3665"/>
                </a:lnTo>
                <a:lnTo>
                  <a:pt x="3673" y="3688"/>
                </a:lnTo>
                <a:lnTo>
                  <a:pt x="3674" y="3714"/>
                </a:lnTo>
                <a:lnTo>
                  <a:pt x="3674" y="3734"/>
                </a:lnTo>
                <a:lnTo>
                  <a:pt x="3673" y="3755"/>
                </a:lnTo>
                <a:lnTo>
                  <a:pt x="3670" y="3775"/>
                </a:lnTo>
                <a:lnTo>
                  <a:pt x="3667" y="3794"/>
                </a:lnTo>
                <a:lnTo>
                  <a:pt x="3663" y="3815"/>
                </a:lnTo>
                <a:lnTo>
                  <a:pt x="3659" y="3834"/>
                </a:lnTo>
                <a:lnTo>
                  <a:pt x="3647" y="3873"/>
                </a:lnTo>
                <a:lnTo>
                  <a:pt x="3632" y="3909"/>
                </a:lnTo>
                <a:lnTo>
                  <a:pt x="3615" y="3944"/>
                </a:lnTo>
                <a:lnTo>
                  <a:pt x="3596" y="3977"/>
                </a:lnTo>
                <a:lnTo>
                  <a:pt x="3572" y="4008"/>
                </a:lnTo>
                <a:lnTo>
                  <a:pt x="3572" y="4167"/>
                </a:lnTo>
                <a:lnTo>
                  <a:pt x="4083" y="4167"/>
                </a:lnTo>
                <a:lnTo>
                  <a:pt x="4083" y="2931"/>
                </a:lnTo>
                <a:lnTo>
                  <a:pt x="4083" y="2573"/>
                </a:lnTo>
                <a:lnTo>
                  <a:pt x="4083" y="988"/>
                </a:lnTo>
                <a:lnTo>
                  <a:pt x="3326" y="988"/>
                </a:lnTo>
                <a:lnTo>
                  <a:pt x="3326" y="223"/>
                </a:lnTo>
                <a:lnTo>
                  <a:pt x="1359" y="223"/>
                </a:lnTo>
                <a:lnTo>
                  <a:pt x="1359" y="1387"/>
                </a:lnTo>
                <a:lnTo>
                  <a:pt x="1136" y="1511"/>
                </a:lnTo>
                <a:lnTo>
                  <a:pt x="1136" y="0"/>
                </a:lnTo>
                <a:close/>
                <a:moveTo>
                  <a:pt x="3438" y="275"/>
                </a:moveTo>
                <a:lnTo>
                  <a:pt x="3438" y="876"/>
                </a:lnTo>
                <a:lnTo>
                  <a:pt x="4039" y="876"/>
                </a:lnTo>
                <a:lnTo>
                  <a:pt x="3438" y="275"/>
                </a:lnTo>
                <a:close/>
                <a:moveTo>
                  <a:pt x="2838" y="3814"/>
                </a:moveTo>
                <a:lnTo>
                  <a:pt x="2838" y="3814"/>
                </a:lnTo>
                <a:lnTo>
                  <a:pt x="2848" y="3842"/>
                </a:lnTo>
                <a:lnTo>
                  <a:pt x="2859" y="3870"/>
                </a:lnTo>
                <a:lnTo>
                  <a:pt x="2873" y="3896"/>
                </a:lnTo>
                <a:lnTo>
                  <a:pt x="2888" y="3921"/>
                </a:lnTo>
                <a:lnTo>
                  <a:pt x="2906" y="3945"/>
                </a:lnTo>
                <a:lnTo>
                  <a:pt x="2925" y="3968"/>
                </a:lnTo>
                <a:lnTo>
                  <a:pt x="2947" y="3987"/>
                </a:lnTo>
                <a:lnTo>
                  <a:pt x="2969" y="4007"/>
                </a:lnTo>
                <a:lnTo>
                  <a:pt x="2993" y="4023"/>
                </a:lnTo>
                <a:lnTo>
                  <a:pt x="3018" y="4039"/>
                </a:lnTo>
                <a:lnTo>
                  <a:pt x="3045" y="4051"/>
                </a:lnTo>
                <a:lnTo>
                  <a:pt x="3073" y="4062"/>
                </a:lnTo>
                <a:lnTo>
                  <a:pt x="3102" y="4071"/>
                </a:lnTo>
                <a:lnTo>
                  <a:pt x="3131" y="4078"/>
                </a:lnTo>
                <a:lnTo>
                  <a:pt x="3162" y="4081"/>
                </a:lnTo>
                <a:lnTo>
                  <a:pt x="3194" y="4082"/>
                </a:lnTo>
                <a:lnTo>
                  <a:pt x="3227" y="4081"/>
                </a:lnTo>
                <a:lnTo>
                  <a:pt x="3261" y="4076"/>
                </a:lnTo>
                <a:lnTo>
                  <a:pt x="3293" y="4069"/>
                </a:lnTo>
                <a:lnTo>
                  <a:pt x="3324" y="4058"/>
                </a:lnTo>
                <a:lnTo>
                  <a:pt x="3354" y="4046"/>
                </a:lnTo>
                <a:lnTo>
                  <a:pt x="3382" y="4030"/>
                </a:lnTo>
                <a:lnTo>
                  <a:pt x="3409" y="4012"/>
                </a:lnTo>
                <a:lnTo>
                  <a:pt x="3434" y="3993"/>
                </a:lnTo>
                <a:lnTo>
                  <a:pt x="3458" y="3970"/>
                </a:lnTo>
                <a:lnTo>
                  <a:pt x="3479" y="3947"/>
                </a:lnTo>
                <a:lnTo>
                  <a:pt x="3498" y="3921"/>
                </a:lnTo>
                <a:lnTo>
                  <a:pt x="3515" y="3894"/>
                </a:lnTo>
                <a:lnTo>
                  <a:pt x="3530" y="3866"/>
                </a:lnTo>
                <a:lnTo>
                  <a:pt x="3541" y="3835"/>
                </a:lnTo>
                <a:lnTo>
                  <a:pt x="3551" y="3803"/>
                </a:lnTo>
                <a:lnTo>
                  <a:pt x="3558" y="3771"/>
                </a:lnTo>
                <a:lnTo>
                  <a:pt x="3561" y="3743"/>
                </a:lnTo>
                <a:lnTo>
                  <a:pt x="3562" y="3714"/>
                </a:lnTo>
                <a:lnTo>
                  <a:pt x="3562" y="3694"/>
                </a:lnTo>
                <a:lnTo>
                  <a:pt x="3561" y="3676"/>
                </a:lnTo>
                <a:lnTo>
                  <a:pt x="3558" y="3658"/>
                </a:lnTo>
                <a:lnTo>
                  <a:pt x="3555" y="3640"/>
                </a:lnTo>
                <a:lnTo>
                  <a:pt x="3551" y="3621"/>
                </a:lnTo>
                <a:lnTo>
                  <a:pt x="3546" y="3603"/>
                </a:lnTo>
                <a:lnTo>
                  <a:pt x="3540" y="3587"/>
                </a:lnTo>
                <a:lnTo>
                  <a:pt x="3533" y="3570"/>
                </a:lnTo>
                <a:lnTo>
                  <a:pt x="3526" y="3553"/>
                </a:lnTo>
                <a:lnTo>
                  <a:pt x="3518" y="3538"/>
                </a:lnTo>
                <a:lnTo>
                  <a:pt x="3509" y="3522"/>
                </a:lnTo>
                <a:lnTo>
                  <a:pt x="3499" y="3507"/>
                </a:lnTo>
                <a:lnTo>
                  <a:pt x="3488" y="3493"/>
                </a:lnTo>
                <a:lnTo>
                  <a:pt x="3479" y="3479"/>
                </a:lnTo>
                <a:lnTo>
                  <a:pt x="3466" y="3465"/>
                </a:lnTo>
                <a:lnTo>
                  <a:pt x="3453" y="3453"/>
                </a:lnTo>
                <a:lnTo>
                  <a:pt x="3441" y="3440"/>
                </a:lnTo>
                <a:lnTo>
                  <a:pt x="3428" y="3429"/>
                </a:lnTo>
                <a:lnTo>
                  <a:pt x="3414" y="3418"/>
                </a:lnTo>
                <a:lnTo>
                  <a:pt x="3399" y="3408"/>
                </a:lnTo>
                <a:lnTo>
                  <a:pt x="3385" y="3398"/>
                </a:lnTo>
                <a:lnTo>
                  <a:pt x="3370" y="3390"/>
                </a:lnTo>
                <a:lnTo>
                  <a:pt x="3353" y="3381"/>
                </a:lnTo>
                <a:lnTo>
                  <a:pt x="3336" y="3373"/>
                </a:lnTo>
                <a:lnTo>
                  <a:pt x="3319" y="3367"/>
                </a:lnTo>
                <a:lnTo>
                  <a:pt x="3303" y="3360"/>
                </a:lnTo>
                <a:lnTo>
                  <a:pt x="3286" y="3356"/>
                </a:lnTo>
                <a:lnTo>
                  <a:pt x="3268" y="3352"/>
                </a:lnTo>
                <a:lnTo>
                  <a:pt x="3250" y="3349"/>
                </a:lnTo>
                <a:lnTo>
                  <a:pt x="3232" y="3347"/>
                </a:lnTo>
                <a:lnTo>
                  <a:pt x="3212" y="3345"/>
                </a:lnTo>
                <a:lnTo>
                  <a:pt x="3194" y="3345"/>
                </a:lnTo>
                <a:lnTo>
                  <a:pt x="3174" y="3345"/>
                </a:lnTo>
                <a:lnTo>
                  <a:pt x="3156" y="3347"/>
                </a:lnTo>
                <a:lnTo>
                  <a:pt x="3137" y="3349"/>
                </a:lnTo>
                <a:lnTo>
                  <a:pt x="3119" y="3352"/>
                </a:lnTo>
                <a:lnTo>
                  <a:pt x="3102" y="3356"/>
                </a:lnTo>
                <a:lnTo>
                  <a:pt x="3084" y="3360"/>
                </a:lnTo>
                <a:lnTo>
                  <a:pt x="3067" y="3367"/>
                </a:lnTo>
                <a:lnTo>
                  <a:pt x="3050" y="3373"/>
                </a:lnTo>
                <a:lnTo>
                  <a:pt x="3033" y="3381"/>
                </a:lnTo>
                <a:lnTo>
                  <a:pt x="3018" y="3390"/>
                </a:lnTo>
                <a:lnTo>
                  <a:pt x="3001" y="3398"/>
                </a:lnTo>
                <a:lnTo>
                  <a:pt x="2987" y="3408"/>
                </a:lnTo>
                <a:lnTo>
                  <a:pt x="2972" y="3418"/>
                </a:lnTo>
                <a:lnTo>
                  <a:pt x="2958" y="3429"/>
                </a:lnTo>
                <a:lnTo>
                  <a:pt x="2946" y="3440"/>
                </a:lnTo>
                <a:lnTo>
                  <a:pt x="2933" y="3453"/>
                </a:lnTo>
                <a:lnTo>
                  <a:pt x="2920" y="3465"/>
                </a:lnTo>
                <a:lnTo>
                  <a:pt x="2909" y="3479"/>
                </a:lnTo>
                <a:lnTo>
                  <a:pt x="2898" y="3493"/>
                </a:lnTo>
                <a:lnTo>
                  <a:pt x="2887" y="3507"/>
                </a:lnTo>
                <a:lnTo>
                  <a:pt x="2877" y="3522"/>
                </a:lnTo>
                <a:lnTo>
                  <a:pt x="2869" y="3538"/>
                </a:lnTo>
                <a:lnTo>
                  <a:pt x="2860" y="3553"/>
                </a:lnTo>
                <a:lnTo>
                  <a:pt x="2853" y="3570"/>
                </a:lnTo>
                <a:lnTo>
                  <a:pt x="2846" y="3587"/>
                </a:lnTo>
                <a:lnTo>
                  <a:pt x="2841" y="3603"/>
                </a:lnTo>
                <a:lnTo>
                  <a:pt x="2837" y="3621"/>
                </a:lnTo>
                <a:lnTo>
                  <a:pt x="2833" y="3640"/>
                </a:lnTo>
                <a:lnTo>
                  <a:pt x="2828" y="3658"/>
                </a:lnTo>
                <a:lnTo>
                  <a:pt x="2827" y="3676"/>
                </a:lnTo>
                <a:lnTo>
                  <a:pt x="2826" y="3694"/>
                </a:lnTo>
                <a:lnTo>
                  <a:pt x="2824" y="3714"/>
                </a:lnTo>
                <a:lnTo>
                  <a:pt x="2826" y="3740"/>
                </a:lnTo>
                <a:lnTo>
                  <a:pt x="2828" y="3765"/>
                </a:lnTo>
                <a:lnTo>
                  <a:pt x="2833" y="3790"/>
                </a:lnTo>
                <a:lnTo>
                  <a:pt x="2838" y="3814"/>
                </a:lnTo>
                <a:close/>
                <a:moveTo>
                  <a:pt x="3194" y="3427"/>
                </a:moveTo>
                <a:lnTo>
                  <a:pt x="3194" y="3427"/>
                </a:lnTo>
                <a:lnTo>
                  <a:pt x="3211" y="3427"/>
                </a:lnTo>
                <a:lnTo>
                  <a:pt x="3227" y="3429"/>
                </a:lnTo>
                <a:lnTo>
                  <a:pt x="3244" y="3432"/>
                </a:lnTo>
                <a:lnTo>
                  <a:pt x="3261" y="3436"/>
                </a:lnTo>
                <a:lnTo>
                  <a:pt x="3276" y="3440"/>
                </a:lnTo>
                <a:lnTo>
                  <a:pt x="3292" y="3446"/>
                </a:lnTo>
                <a:lnTo>
                  <a:pt x="3307" y="3451"/>
                </a:lnTo>
                <a:lnTo>
                  <a:pt x="3322" y="3458"/>
                </a:lnTo>
                <a:lnTo>
                  <a:pt x="3336" y="3465"/>
                </a:lnTo>
                <a:lnTo>
                  <a:pt x="3350" y="3474"/>
                </a:lnTo>
                <a:lnTo>
                  <a:pt x="3363" y="3483"/>
                </a:lnTo>
                <a:lnTo>
                  <a:pt x="3375" y="3493"/>
                </a:lnTo>
                <a:lnTo>
                  <a:pt x="3388" y="3504"/>
                </a:lnTo>
                <a:lnTo>
                  <a:pt x="3399" y="3515"/>
                </a:lnTo>
                <a:lnTo>
                  <a:pt x="3410" y="3527"/>
                </a:lnTo>
                <a:lnTo>
                  <a:pt x="3420" y="3539"/>
                </a:lnTo>
                <a:lnTo>
                  <a:pt x="3020" y="3941"/>
                </a:lnTo>
                <a:lnTo>
                  <a:pt x="3007" y="3930"/>
                </a:lnTo>
                <a:lnTo>
                  <a:pt x="2994" y="3920"/>
                </a:lnTo>
                <a:lnTo>
                  <a:pt x="2983" y="3908"/>
                </a:lnTo>
                <a:lnTo>
                  <a:pt x="2973" y="3896"/>
                </a:lnTo>
                <a:lnTo>
                  <a:pt x="2964" y="3884"/>
                </a:lnTo>
                <a:lnTo>
                  <a:pt x="2954" y="3870"/>
                </a:lnTo>
                <a:lnTo>
                  <a:pt x="2946" y="3856"/>
                </a:lnTo>
                <a:lnTo>
                  <a:pt x="2937" y="3842"/>
                </a:lnTo>
                <a:lnTo>
                  <a:pt x="2932" y="3828"/>
                </a:lnTo>
                <a:lnTo>
                  <a:pt x="2925" y="3813"/>
                </a:lnTo>
                <a:lnTo>
                  <a:pt x="2919" y="3797"/>
                </a:lnTo>
                <a:lnTo>
                  <a:pt x="2915" y="3781"/>
                </a:lnTo>
                <a:lnTo>
                  <a:pt x="2912" y="3764"/>
                </a:lnTo>
                <a:lnTo>
                  <a:pt x="2909" y="3747"/>
                </a:lnTo>
                <a:lnTo>
                  <a:pt x="2908" y="3730"/>
                </a:lnTo>
                <a:lnTo>
                  <a:pt x="2908" y="3714"/>
                </a:lnTo>
                <a:lnTo>
                  <a:pt x="2909" y="3684"/>
                </a:lnTo>
                <a:lnTo>
                  <a:pt x="2913" y="3656"/>
                </a:lnTo>
                <a:lnTo>
                  <a:pt x="2920" y="3628"/>
                </a:lnTo>
                <a:lnTo>
                  <a:pt x="2930" y="3602"/>
                </a:lnTo>
                <a:lnTo>
                  <a:pt x="2941" y="3577"/>
                </a:lnTo>
                <a:lnTo>
                  <a:pt x="2957" y="3553"/>
                </a:lnTo>
                <a:lnTo>
                  <a:pt x="2972" y="3532"/>
                </a:lnTo>
                <a:lnTo>
                  <a:pt x="2992" y="3511"/>
                </a:lnTo>
                <a:lnTo>
                  <a:pt x="3011" y="3493"/>
                </a:lnTo>
                <a:lnTo>
                  <a:pt x="3033" y="3476"/>
                </a:lnTo>
                <a:lnTo>
                  <a:pt x="3057" y="3462"/>
                </a:lnTo>
                <a:lnTo>
                  <a:pt x="3082" y="3450"/>
                </a:lnTo>
                <a:lnTo>
                  <a:pt x="3109" y="3440"/>
                </a:lnTo>
                <a:lnTo>
                  <a:pt x="3135" y="3433"/>
                </a:lnTo>
                <a:lnTo>
                  <a:pt x="3165" y="3429"/>
                </a:lnTo>
                <a:lnTo>
                  <a:pt x="3194" y="3427"/>
                </a:lnTo>
                <a:close/>
                <a:moveTo>
                  <a:pt x="1323" y="3229"/>
                </a:moveTo>
                <a:lnTo>
                  <a:pt x="1757" y="3266"/>
                </a:lnTo>
                <a:lnTo>
                  <a:pt x="1787" y="3267"/>
                </a:lnTo>
                <a:lnTo>
                  <a:pt x="1818" y="3264"/>
                </a:lnTo>
                <a:lnTo>
                  <a:pt x="1847" y="3260"/>
                </a:lnTo>
                <a:lnTo>
                  <a:pt x="1874" y="3253"/>
                </a:lnTo>
                <a:lnTo>
                  <a:pt x="1900" y="3243"/>
                </a:lnTo>
                <a:lnTo>
                  <a:pt x="1927" y="3233"/>
                </a:lnTo>
                <a:lnTo>
                  <a:pt x="1977" y="3211"/>
                </a:lnTo>
                <a:lnTo>
                  <a:pt x="2027" y="3187"/>
                </a:lnTo>
                <a:lnTo>
                  <a:pt x="2054" y="3176"/>
                </a:lnTo>
                <a:lnTo>
                  <a:pt x="2080" y="3168"/>
                </a:lnTo>
                <a:lnTo>
                  <a:pt x="2108" y="3160"/>
                </a:lnTo>
                <a:lnTo>
                  <a:pt x="2138" y="3154"/>
                </a:lnTo>
                <a:lnTo>
                  <a:pt x="2168" y="3151"/>
                </a:lnTo>
                <a:lnTo>
                  <a:pt x="2200" y="3150"/>
                </a:lnTo>
                <a:lnTo>
                  <a:pt x="2392" y="3158"/>
                </a:lnTo>
                <a:lnTo>
                  <a:pt x="2387" y="3125"/>
                </a:lnTo>
                <a:lnTo>
                  <a:pt x="2380" y="3093"/>
                </a:lnTo>
                <a:lnTo>
                  <a:pt x="2373" y="3063"/>
                </a:lnTo>
                <a:lnTo>
                  <a:pt x="2368" y="3049"/>
                </a:lnTo>
                <a:lnTo>
                  <a:pt x="2362" y="3035"/>
                </a:lnTo>
                <a:lnTo>
                  <a:pt x="2355" y="3021"/>
                </a:lnTo>
                <a:lnTo>
                  <a:pt x="2348" y="3009"/>
                </a:lnTo>
                <a:lnTo>
                  <a:pt x="2339" y="2998"/>
                </a:lnTo>
                <a:lnTo>
                  <a:pt x="2329" y="2986"/>
                </a:lnTo>
                <a:lnTo>
                  <a:pt x="2316" y="2975"/>
                </a:lnTo>
                <a:lnTo>
                  <a:pt x="2302" y="2967"/>
                </a:lnTo>
                <a:lnTo>
                  <a:pt x="2287" y="2957"/>
                </a:lnTo>
                <a:lnTo>
                  <a:pt x="2269" y="2950"/>
                </a:lnTo>
                <a:lnTo>
                  <a:pt x="1914" y="2816"/>
                </a:lnTo>
                <a:lnTo>
                  <a:pt x="2026" y="2497"/>
                </a:lnTo>
                <a:lnTo>
                  <a:pt x="2361" y="2060"/>
                </a:lnTo>
                <a:lnTo>
                  <a:pt x="2533" y="1835"/>
                </a:lnTo>
                <a:lnTo>
                  <a:pt x="2594" y="1753"/>
                </a:lnTo>
                <a:lnTo>
                  <a:pt x="2602" y="1740"/>
                </a:lnTo>
                <a:lnTo>
                  <a:pt x="2516" y="1585"/>
                </a:lnTo>
                <a:lnTo>
                  <a:pt x="2574" y="1467"/>
                </a:lnTo>
                <a:lnTo>
                  <a:pt x="2474" y="1368"/>
                </a:lnTo>
                <a:lnTo>
                  <a:pt x="2341" y="1411"/>
                </a:lnTo>
                <a:lnTo>
                  <a:pt x="2281" y="1377"/>
                </a:lnTo>
                <a:lnTo>
                  <a:pt x="2240" y="1355"/>
                </a:lnTo>
                <a:lnTo>
                  <a:pt x="2223" y="1345"/>
                </a:lnTo>
                <a:lnTo>
                  <a:pt x="2209" y="1340"/>
                </a:lnTo>
                <a:lnTo>
                  <a:pt x="2196" y="1336"/>
                </a:lnTo>
                <a:lnTo>
                  <a:pt x="2185" y="1334"/>
                </a:lnTo>
                <a:lnTo>
                  <a:pt x="2173" y="1336"/>
                </a:lnTo>
                <a:lnTo>
                  <a:pt x="2160" y="1338"/>
                </a:lnTo>
                <a:lnTo>
                  <a:pt x="2146" y="1343"/>
                </a:lnTo>
                <a:lnTo>
                  <a:pt x="2129" y="1351"/>
                </a:lnTo>
                <a:lnTo>
                  <a:pt x="2086" y="1372"/>
                </a:lnTo>
                <a:lnTo>
                  <a:pt x="2023" y="1403"/>
                </a:lnTo>
                <a:lnTo>
                  <a:pt x="1988" y="1396"/>
                </a:lnTo>
                <a:lnTo>
                  <a:pt x="1955" y="1389"/>
                </a:lnTo>
                <a:lnTo>
                  <a:pt x="1924" y="1382"/>
                </a:lnTo>
                <a:lnTo>
                  <a:pt x="1895" y="1377"/>
                </a:lnTo>
                <a:lnTo>
                  <a:pt x="1880" y="1376"/>
                </a:lnTo>
                <a:lnTo>
                  <a:pt x="1866" y="1376"/>
                </a:lnTo>
                <a:lnTo>
                  <a:pt x="1850" y="1376"/>
                </a:lnTo>
                <a:lnTo>
                  <a:pt x="1836" y="1377"/>
                </a:lnTo>
                <a:lnTo>
                  <a:pt x="1821" y="1380"/>
                </a:lnTo>
                <a:lnTo>
                  <a:pt x="1807" y="1384"/>
                </a:lnTo>
                <a:lnTo>
                  <a:pt x="1792" y="1391"/>
                </a:lnTo>
                <a:lnTo>
                  <a:pt x="1775" y="1398"/>
                </a:lnTo>
                <a:lnTo>
                  <a:pt x="1028" y="1810"/>
                </a:lnTo>
                <a:lnTo>
                  <a:pt x="984" y="1852"/>
                </a:lnTo>
                <a:lnTo>
                  <a:pt x="921" y="1909"/>
                </a:lnTo>
                <a:lnTo>
                  <a:pt x="848" y="1979"/>
                </a:lnTo>
                <a:lnTo>
                  <a:pt x="808" y="2017"/>
                </a:lnTo>
                <a:lnTo>
                  <a:pt x="769" y="2057"/>
                </a:lnTo>
                <a:lnTo>
                  <a:pt x="728" y="2100"/>
                </a:lnTo>
                <a:lnTo>
                  <a:pt x="691" y="2144"/>
                </a:lnTo>
                <a:lnTo>
                  <a:pt x="653" y="2188"/>
                </a:lnTo>
                <a:lnTo>
                  <a:pt x="618" y="2236"/>
                </a:lnTo>
                <a:lnTo>
                  <a:pt x="603" y="2258"/>
                </a:lnTo>
                <a:lnTo>
                  <a:pt x="587" y="2282"/>
                </a:lnTo>
                <a:lnTo>
                  <a:pt x="573" y="2305"/>
                </a:lnTo>
                <a:lnTo>
                  <a:pt x="560" y="2329"/>
                </a:lnTo>
                <a:lnTo>
                  <a:pt x="548" y="2353"/>
                </a:lnTo>
                <a:lnTo>
                  <a:pt x="537" y="2377"/>
                </a:lnTo>
                <a:lnTo>
                  <a:pt x="527" y="2400"/>
                </a:lnTo>
                <a:lnTo>
                  <a:pt x="520" y="2424"/>
                </a:lnTo>
                <a:lnTo>
                  <a:pt x="434" y="2338"/>
                </a:lnTo>
                <a:lnTo>
                  <a:pt x="442" y="2314"/>
                </a:lnTo>
                <a:lnTo>
                  <a:pt x="453" y="2291"/>
                </a:lnTo>
                <a:lnTo>
                  <a:pt x="465" y="2269"/>
                </a:lnTo>
                <a:lnTo>
                  <a:pt x="477" y="2247"/>
                </a:lnTo>
                <a:lnTo>
                  <a:pt x="504" y="2204"/>
                </a:lnTo>
                <a:lnTo>
                  <a:pt x="533" y="2160"/>
                </a:lnTo>
                <a:lnTo>
                  <a:pt x="565" y="2118"/>
                </a:lnTo>
                <a:lnTo>
                  <a:pt x="600" y="2078"/>
                </a:lnTo>
                <a:lnTo>
                  <a:pt x="635" y="2037"/>
                </a:lnTo>
                <a:lnTo>
                  <a:pt x="673" y="1998"/>
                </a:lnTo>
                <a:lnTo>
                  <a:pt x="710" y="1959"/>
                </a:lnTo>
                <a:lnTo>
                  <a:pt x="748" y="1923"/>
                </a:lnTo>
                <a:lnTo>
                  <a:pt x="823" y="1850"/>
                </a:lnTo>
                <a:lnTo>
                  <a:pt x="896" y="1784"/>
                </a:lnTo>
                <a:lnTo>
                  <a:pt x="961" y="1719"/>
                </a:lnTo>
                <a:lnTo>
                  <a:pt x="1722" y="1301"/>
                </a:lnTo>
                <a:lnTo>
                  <a:pt x="1741" y="1291"/>
                </a:lnTo>
                <a:lnTo>
                  <a:pt x="1760" y="1283"/>
                </a:lnTo>
                <a:lnTo>
                  <a:pt x="1778" y="1277"/>
                </a:lnTo>
                <a:lnTo>
                  <a:pt x="1794" y="1271"/>
                </a:lnTo>
                <a:lnTo>
                  <a:pt x="1811" y="1269"/>
                </a:lnTo>
                <a:lnTo>
                  <a:pt x="1828" y="1266"/>
                </a:lnTo>
                <a:lnTo>
                  <a:pt x="1845" y="1264"/>
                </a:lnTo>
                <a:lnTo>
                  <a:pt x="1861" y="1264"/>
                </a:lnTo>
                <a:lnTo>
                  <a:pt x="1895" y="1267"/>
                </a:lnTo>
                <a:lnTo>
                  <a:pt x="1930" y="1273"/>
                </a:lnTo>
                <a:lnTo>
                  <a:pt x="2008" y="1287"/>
                </a:lnTo>
                <a:lnTo>
                  <a:pt x="2068" y="1257"/>
                </a:lnTo>
                <a:lnTo>
                  <a:pt x="2115" y="1236"/>
                </a:lnTo>
                <a:lnTo>
                  <a:pt x="2135" y="1229"/>
                </a:lnTo>
                <a:lnTo>
                  <a:pt x="2152" y="1225"/>
                </a:lnTo>
                <a:lnTo>
                  <a:pt x="2168" y="1221"/>
                </a:lnTo>
                <a:lnTo>
                  <a:pt x="2184" y="1221"/>
                </a:lnTo>
                <a:lnTo>
                  <a:pt x="2199" y="1222"/>
                </a:lnTo>
                <a:lnTo>
                  <a:pt x="2214" y="1225"/>
                </a:lnTo>
                <a:lnTo>
                  <a:pt x="2231" y="1231"/>
                </a:lnTo>
                <a:lnTo>
                  <a:pt x="2249" y="1238"/>
                </a:lnTo>
                <a:lnTo>
                  <a:pt x="2294" y="1260"/>
                </a:lnTo>
                <a:lnTo>
                  <a:pt x="2351" y="1289"/>
                </a:lnTo>
                <a:lnTo>
                  <a:pt x="2413" y="1271"/>
                </a:lnTo>
                <a:lnTo>
                  <a:pt x="2436" y="1264"/>
                </a:lnTo>
                <a:lnTo>
                  <a:pt x="2457" y="1260"/>
                </a:lnTo>
                <a:lnTo>
                  <a:pt x="2475" y="1257"/>
                </a:lnTo>
                <a:lnTo>
                  <a:pt x="2491" y="1257"/>
                </a:lnTo>
                <a:lnTo>
                  <a:pt x="2505" y="1259"/>
                </a:lnTo>
                <a:lnTo>
                  <a:pt x="2519" y="1263"/>
                </a:lnTo>
                <a:lnTo>
                  <a:pt x="2531" y="1270"/>
                </a:lnTo>
                <a:lnTo>
                  <a:pt x="2544" y="1278"/>
                </a:lnTo>
                <a:lnTo>
                  <a:pt x="2558" y="1291"/>
                </a:lnTo>
                <a:lnTo>
                  <a:pt x="2572" y="1305"/>
                </a:lnTo>
                <a:lnTo>
                  <a:pt x="2606" y="1341"/>
                </a:lnTo>
                <a:lnTo>
                  <a:pt x="2653" y="1389"/>
                </a:lnTo>
                <a:lnTo>
                  <a:pt x="2664" y="1400"/>
                </a:lnTo>
                <a:lnTo>
                  <a:pt x="2672" y="1412"/>
                </a:lnTo>
                <a:lnTo>
                  <a:pt x="2678" y="1425"/>
                </a:lnTo>
                <a:lnTo>
                  <a:pt x="2682" y="1436"/>
                </a:lnTo>
                <a:lnTo>
                  <a:pt x="2683" y="1449"/>
                </a:lnTo>
                <a:lnTo>
                  <a:pt x="2685" y="1461"/>
                </a:lnTo>
                <a:lnTo>
                  <a:pt x="2683" y="1474"/>
                </a:lnTo>
                <a:lnTo>
                  <a:pt x="2682" y="1486"/>
                </a:lnTo>
                <a:lnTo>
                  <a:pt x="2678" y="1497"/>
                </a:lnTo>
                <a:lnTo>
                  <a:pt x="2675" y="1510"/>
                </a:lnTo>
                <a:lnTo>
                  <a:pt x="2664" y="1534"/>
                </a:lnTo>
                <a:lnTo>
                  <a:pt x="2641" y="1581"/>
                </a:lnTo>
                <a:lnTo>
                  <a:pt x="2658" y="1609"/>
                </a:lnTo>
                <a:lnTo>
                  <a:pt x="2676" y="1638"/>
                </a:lnTo>
                <a:lnTo>
                  <a:pt x="2692" y="1666"/>
                </a:lnTo>
                <a:lnTo>
                  <a:pt x="2699" y="1682"/>
                </a:lnTo>
                <a:lnTo>
                  <a:pt x="2706" y="1697"/>
                </a:lnTo>
                <a:lnTo>
                  <a:pt x="2710" y="1712"/>
                </a:lnTo>
                <a:lnTo>
                  <a:pt x="2714" y="1726"/>
                </a:lnTo>
                <a:lnTo>
                  <a:pt x="2715" y="1742"/>
                </a:lnTo>
                <a:lnTo>
                  <a:pt x="2714" y="1758"/>
                </a:lnTo>
                <a:lnTo>
                  <a:pt x="2711" y="1774"/>
                </a:lnTo>
                <a:lnTo>
                  <a:pt x="2706" y="1789"/>
                </a:lnTo>
                <a:lnTo>
                  <a:pt x="2699" y="1806"/>
                </a:lnTo>
                <a:lnTo>
                  <a:pt x="2687" y="1821"/>
                </a:lnTo>
                <a:lnTo>
                  <a:pt x="2125" y="2550"/>
                </a:lnTo>
                <a:lnTo>
                  <a:pt x="2055" y="2751"/>
                </a:lnTo>
                <a:lnTo>
                  <a:pt x="2110" y="2769"/>
                </a:lnTo>
                <a:lnTo>
                  <a:pt x="2173" y="2791"/>
                </a:lnTo>
                <a:lnTo>
                  <a:pt x="2206" y="2802"/>
                </a:lnTo>
                <a:lnTo>
                  <a:pt x="2241" y="2816"/>
                </a:lnTo>
                <a:lnTo>
                  <a:pt x="2274" y="2830"/>
                </a:lnTo>
                <a:lnTo>
                  <a:pt x="2308" y="2847"/>
                </a:lnTo>
                <a:lnTo>
                  <a:pt x="2340" y="2864"/>
                </a:lnTo>
                <a:lnTo>
                  <a:pt x="2371" y="2883"/>
                </a:lnTo>
                <a:lnTo>
                  <a:pt x="2399" y="2904"/>
                </a:lnTo>
                <a:lnTo>
                  <a:pt x="2413" y="2915"/>
                </a:lnTo>
                <a:lnTo>
                  <a:pt x="2425" y="2928"/>
                </a:lnTo>
                <a:lnTo>
                  <a:pt x="2436" y="2940"/>
                </a:lnTo>
                <a:lnTo>
                  <a:pt x="2446" y="2953"/>
                </a:lnTo>
                <a:lnTo>
                  <a:pt x="2456" y="2967"/>
                </a:lnTo>
                <a:lnTo>
                  <a:pt x="2464" y="2981"/>
                </a:lnTo>
                <a:lnTo>
                  <a:pt x="2473" y="2996"/>
                </a:lnTo>
                <a:lnTo>
                  <a:pt x="2478" y="3012"/>
                </a:lnTo>
                <a:lnTo>
                  <a:pt x="2484" y="3027"/>
                </a:lnTo>
                <a:lnTo>
                  <a:pt x="2486" y="3045"/>
                </a:lnTo>
                <a:lnTo>
                  <a:pt x="2524" y="3274"/>
                </a:lnTo>
                <a:lnTo>
                  <a:pt x="2445" y="3270"/>
                </a:lnTo>
                <a:lnTo>
                  <a:pt x="2372" y="3264"/>
                </a:lnTo>
                <a:lnTo>
                  <a:pt x="2308" y="3259"/>
                </a:lnTo>
                <a:lnTo>
                  <a:pt x="2279" y="3257"/>
                </a:lnTo>
                <a:lnTo>
                  <a:pt x="2249" y="3256"/>
                </a:lnTo>
                <a:lnTo>
                  <a:pt x="2220" y="3257"/>
                </a:lnTo>
                <a:lnTo>
                  <a:pt x="2192" y="3259"/>
                </a:lnTo>
                <a:lnTo>
                  <a:pt x="2164" y="3263"/>
                </a:lnTo>
                <a:lnTo>
                  <a:pt x="2136" y="3268"/>
                </a:lnTo>
                <a:lnTo>
                  <a:pt x="2107" y="3277"/>
                </a:lnTo>
                <a:lnTo>
                  <a:pt x="2078" y="3287"/>
                </a:lnTo>
                <a:lnTo>
                  <a:pt x="2047" y="3300"/>
                </a:lnTo>
                <a:lnTo>
                  <a:pt x="2015" y="3317"/>
                </a:lnTo>
                <a:lnTo>
                  <a:pt x="1990" y="3330"/>
                </a:lnTo>
                <a:lnTo>
                  <a:pt x="1965" y="3342"/>
                </a:lnTo>
                <a:lnTo>
                  <a:pt x="1937" y="3353"/>
                </a:lnTo>
                <a:lnTo>
                  <a:pt x="1906" y="3363"/>
                </a:lnTo>
                <a:lnTo>
                  <a:pt x="1873" y="3372"/>
                </a:lnTo>
                <a:lnTo>
                  <a:pt x="1854" y="3374"/>
                </a:lnTo>
                <a:lnTo>
                  <a:pt x="1835" y="3377"/>
                </a:lnTo>
                <a:lnTo>
                  <a:pt x="1814" y="3379"/>
                </a:lnTo>
                <a:lnTo>
                  <a:pt x="1793" y="3379"/>
                </a:lnTo>
                <a:lnTo>
                  <a:pt x="1771" y="3379"/>
                </a:lnTo>
                <a:lnTo>
                  <a:pt x="1747" y="3376"/>
                </a:lnTo>
                <a:lnTo>
                  <a:pt x="1441" y="3351"/>
                </a:lnTo>
                <a:lnTo>
                  <a:pt x="1443" y="3349"/>
                </a:lnTo>
                <a:lnTo>
                  <a:pt x="1323" y="3229"/>
                </a:lnTo>
                <a:close/>
              </a:path>
            </a:pathLst>
          </a:custGeom>
          <a:solidFill>
            <a:srgbClr val="808080">
              <a:lumMod val="50000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anchor="t"/>
          <a:lstStyle/>
          <a:p>
            <a:pPr marL="0" marR="0" lvl="0" indent="0" algn="l" defTabSz="9140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10" name="Diagram 10">
            <a:extLst>
              <a:ext uri="{FF2B5EF4-FFF2-40B4-BE49-F238E27FC236}">
                <a16:creationId xmlns:a16="http://schemas.microsoft.com/office/drawing/2014/main" id="{56605D42-0009-46A2-9996-BB782B583D5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95475889"/>
              </p:ext>
            </p:extLst>
          </p:nvPr>
        </p:nvGraphicFramePr>
        <p:xfrm>
          <a:off x="576653" y="392762"/>
          <a:ext cx="2816125" cy="38573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24" name="Table 24">
            <a:extLst>
              <a:ext uri="{FF2B5EF4-FFF2-40B4-BE49-F238E27FC236}">
                <a16:creationId xmlns:a16="http://schemas.microsoft.com/office/drawing/2014/main" id="{13FD8E53-3EB8-4E71-A548-A417A1CABA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662788"/>
              </p:ext>
            </p:extLst>
          </p:nvPr>
        </p:nvGraphicFramePr>
        <p:xfrm>
          <a:off x="3598927" y="991934"/>
          <a:ext cx="4968420" cy="5024201"/>
        </p:xfrm>
        <a:graphic>
          <a:graphicData uri="http://schemas.openxmlformats.org/drawingml/2006/table">
            <a:tbl>
              <a:tblPr firstRow="1" bandRow="1">
                <a:effectLst/>
                <a:tableStyleId>{073A0DAA-6AF3-43AB-8588-CEC1D06C72B9}</a:tableStyleId>
              </a:tblPr>
              <a:tblGrid>
                <a:gridCol w="4968420">
                  <a:extLst>
                    <a:ext uri="{9D8B030D-6E8A-4147-A177-3AD203B41FA5}">
                      <a16:colId xmlns:a16="http://schemas.microsoft.com/office/drawing/2014/main" val="2768112557"/>
                    </a:ext>
                  </a:extLst>
                </a:gridCol>
              </a:tblGrid>
              <a:tr h="900909">
                <a:tc>
                  <a:txBody>
                    <a:bodyPr/>
                    <a:lstStyle/>
                    <a:p>
                      <a:pPr marL="171450" indent="-171450" algn="just">
                        <a:buClr>
                          <a:schemeClr val="tx2"/>
                        </a:buClr>
                        <a:buFont typeface="Arial" panose="020B0604020202020204" pitchFamily="34" charset="0"/>
                        <a:buChar char="►"/>
                      </a:pPr>
                      <a:r>
                        <a:rPr lang="ru-RU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авило, которое позволяло бы недропользователям, осуществляющим горнодобывающую деятельность, относить на вычеты расходы на геологоразведку, против доходов, полученных в рамках других контрактов. </a:t>
                      </a:r>
                      <a:endParaRPr lang="en-US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2625180"/>
                  </a:ext>
                </a:extLst>
              </a:tr>
              <a:tr h="900909">
                <a:tc>
                  <a:txBody>
                    <a:bodyPr/>
                    <a:lstStyle/>
                    <a:p>
                      <a:pPr marL="171450" indent="-171450" algn="just" defTabSz="685434" rtl="0" eaLnBrk="1" latinLnBrk="0" hangingPunct="1">
                        <a:buClr>
                          <a:schemeClr val="tx2"/>
                        </a:buClr>
                        <a:buFont typeface="Arial" panose="020B0604020202020204" pitchFamily="34" charset="0"/>
                        <a:buChar char="►"/>
                      </a:pPr>
                      <a:r>
                        <a:rPr lang="ru-RU" sz="1400" b="0" kern="120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авило, которое позволяло бы налогоплательщикам относить на вычеты расходы на геологоразведку в том периоде, в котором они понесены и предусмотреть, что к таким расходам не применяется срок исковой давности.</a:t>
                      </a:r>
                      <a:endParaRPr lang="en-US" sz="1400" b="0" kern="120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0142623"/>
                  </a:ext>
                </a:extLst>
              </a:tr>
              <a:tr h="976775">
                <a:tc>
                  <a:txBody>
                    <a:bodyPr/>
                    <a:lstStyle/>
                    <a:p>
                      <a:pPr marL="171450" marR="0" lvl="0" indent="-171450" algn="just" defTabSz="685434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►"/>
                        <a:tabLst/>
                        <a:defRPr/>
                      </a:pPr>
                      <a:r>
                        <a:rPr lang="ru-RU" sz="1400" b="0" kern="1200" noProof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авило, </a:t>
                      </a:r>
                      <a:r>
                        <a:rPr lang="ru" sz="1400" b="0" kern="1200" noProof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торое предоставляло бы налогоплательщикам в период геологоразведки </a:t>
                      </a:r>
                      <a:r>
                        <a:rPr lang="ru-RU" sz="1400" b="0" kern="1200" noProof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озможность предоставления освобождения от обязательств по</a:t>
                      </a:r>
                      <a:r>
                        <a:rPr lang="en-US" sz="1400" b="0" kern="1200" noProof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kern="1200" noProof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аким налогам как </a:t>
                      </a:r>
                      <a:r>
                        <a:rPr lang="ru" sz="1400" b="0" kern="1200" noProof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ПН, земельный налог, налог на имущество</a:t>
                      </a:r>
                      <a:r>
                        <a:rPr lang="en-US" sz="1400" b="0" kern="1200" noProof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kern="1200" noProof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 период геологоразведки</a:t>
                      </a:r>
                      <a:r>
                        <a:rPr lang="ru" sz="1400" b="0" kern="1200" noProof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</a:t>
                      </a:r>
                      <a:endParaRPr lang="en-US" sz="1400" b="0" kern="120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9739485"/>
                  </a:ext>
                </a:extLst>
              </a:tr>
              <a:tr h="732726">
                <a:tc>
                  <a:txBody>
                    <a:bodyPr/>
                    <a:lstStyle/>
                    <a:p>
                      <a:pPr marL="171450" marR="0" lvl="0" indent="-171450" algn="just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►"/>
                        <a:tabLst/>
                        <a:defRPr/>
                      </a:pPr>
                      <a:r>
                        <a:rPr lang="ru-RU" sz="1400" b="0" kern="1200" noProof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озможность внедрения акций </a:t>
                      </a:r>
                      <a:r>
                        <a:rPr lang="en-US" sz="1400" b="0" kern="1200" noProof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low-Through Shares</a:t>
                      </a:r>
                      <a:r>
                        <a:rPr lang="ru-RU" sz="1400" b="0" kern="1200" noProof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400" b="0" kern="1200" noProof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“FTS”)</a:t>
                      </a:r>
                      <a:r>
                        <a:rPr lang="ru-RU" sz="1400" b="0" kern="1200" noProof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в качестве альтернативных инструментов финансирования геологоразведочных работ</a:t>
                      </a:r>
                      <a:r>
                        <a:rPr lang="en-US" sz="1400" b="0" kern="1200" noProof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5467613"/>
                  </a:ext>
                </a:extLst>
              </a:tr>
              <a:tr h="976775">
                <a:tc>
                  <a:txBody>
                    <a:bodyPr/>
                    <a:lstStyle/>
                    <a:p>
                      <a:pPr marL="171450" marR="0" lvl="0" indent="-171450" algn="just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►"/>
                        <a:tabLst/>
                        <a:defRPr/>
                      </a:pPr>
                      <a:r>
                        <a:rPr lang="ru-RU" sz="1400" b="0" kern="120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авило, которое предоставляло бы возможность </a:t>
                      </a:r>
                      <a:r>
                        <a:rPr lang="ru" sz="1400" b="0" kern="1200" noProof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логоплательщикам относить дополнительные расходы на вычеты, то есть вычет сверх фактических расходов.</a:t>
                      </a:r>
                      <a:endParaRPr lang="en-US" sz="1400" b="0" kern="120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45274920"/>
                  </a:ext>
                </a:extLst>
              </a:tr>
            </a:tbl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AFDF7E28-A336-4BE3-BD99-3BF0A3248843}"/>
              </a:ext>
            </a:extLst>
          </p:cNvPr>
          <p:cNvGrpSpPr/>
          <p:nvPr/>
        </p:nvGrpSpPr>
        <p:grpSpPr>
          <a:xfrm>
            <a:off x="576652" y="4377049"/>
            <a:ext cx="2816125" cy="611341"/>
            <a:chOff x="0" y="1561821"/>
            <a:chExt cx="2408100" cy="1444856"/>
          </a:xfrm>
        </p:grpSpPr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021DB8EF-2BC1-45ED-9B3F-2E76883D6D71}"/>
                </a:ext>
              </a:extLst>
            </p:cNvPr>
            <p:cNvSpPr/>
            <p:nvPr/>
          </p:nvSpPr>
          <p:spPr>
            <a:xfrm>
              <a:off x="0" y="1561821"/>
              <a:ext cx="2408100" cy="1444856"/>
            </a:xfrm>
            <a:prstGeom prst="roundRect">
              <a:avLst/>
            </a:prstGeom>
            <a:ln w="12700">
              <a:solidFill>
                <a:schemeClr val="bg2">
                  <a:lumMod val="50000"/>
                  <a:lumOff val="50000"/>
                </a:schemeClr>
              </a:solidFill>
              <a:prstDash val="dash"/>
            </a:ln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tangle: Rounded Corners 4">
              <a:extLst>
                <a:ext uri="{FF2B5EF4-FFF2-40B4-BE49-F238E27FC236}">
                  <a16:creationId xmlns:a16="http://schemas.microsoft.com/office/drawing/2014/main" id="{AB87C005-1342-40F2-9159-A8384F58AEE1}"/>
                </a:ext>
              </a:extLst>
            </p:cNvPr>
            <p:cNvSpPr txBox="1"/>
            <p:nvPr/>
          </p:nvSpPr>
          <p:spPr>
            <a:xfrm>
              <a:off x="105797" y="1601118"/>
              <a:ext cx="2267036" cy="130379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9530" tIns="49530" rIns="49530" bIns="49530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500">
                  <a:solidFill>
                    <a:srgbClr val="2E2E38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ведение акций FTS</a:t>
              </a:r>
              <a:endParaRPr lang="ru-RU" sz="1500" b="0" kern="1200" dirty="0">
                <a:solidFill>
                  <a:srgbClr val="2E2E3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6C589E3-3DCF-4C26-9FC9-F22D71FC9EA3}"/>
              </a:ext>
            </a:extLst>
          </p:cNvPr>
          <p:cNvGrpSpPr/>
          <p:nvPr/>
        </p:nvGrpSpPr>
        <p:grpSpPr>
          <a:xfrm>
            <a:off x="576651" y="5109449"/>
            <a:ext cx="2816125" cy="1027022"/>
            <a:chOff x="0" y="1561821"/>
            <a:chExt cx="2408100" cy="1444856"/>
          </a:xfrm>
        </p:grpSpPr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E3940B60-1DF2-42CB-B83A-9640F414517E}"/>
                </a:ext>
              </a:extLst>
            </p:cNvPr>
            <p:cNvSpPr/>
            <p:nvPr/>
          </p:nvSpPr>
          <p:spPr>
            <a:xfrm>
              <a:off x="0" y="1561821"/>
              <a:ext cx="2408100" cy="1444856"/>
            </a:xfrm>
            <a:prstGeom prst="roundRect">
              <a:avLst/>
            </a:prstGeom>
            <a:ln w="12700">
              <a:solidFill>
                <a:schemeClr val="bg2">
                  <a:lumMod val="50000"/>
                  <a:lumOff val="50000"/>
                </a:schemeClr>
              </a:solidFill>
              <a:prstDash val="dash"/>
            </a:ln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" name="Rectangle: Rounded Corners 4">
              <a:extLst>
                <a:ext uri="{FF2B5EF4-FFF2-40B4-BE49-F238E27FC236}">
                  <a16:creationId xmlns:a16="http://schemas.microsoft.com/office/drawing/2014/main" id="{89F5CBC8-9789-472A-8350-49B52FE3A44A}"/>
                </a:ext>
              </a:extLst>
            </p:cNvPr>
            <p:cNvSpPr txBox="1"/>
            <p:nvPr/>
          </p:nvSpPr>
          <p:spPr>
            <a:xfrm>
              <a:off x="105797" y="1601118"/>
              <a:ext cx="2267036" cy="130379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9530" tIns="49530" rIns="49530" bIns="49530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500" dirty="0">
                  <a:solidFill>
                    <a:srgbClr val="2E2E38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ополнительные (сверхфактические) вычеты по геологоразведке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588349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83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7&quot;&gt;&lt;elem m_fUsage=&quot;3.60754055727054945280E+00&quot;&gt;&lt;m_msothmcolidx val=&quot;0&quot;/&gt;&lt;m_rgb r=&quot;95&quot; g=&quot;B3&quot; b=&quot;D7&quot;/&gt;&lt;/elem&gt;&lt;elem m_fUsage=&quot;2.44425890484600483177E+00&quot;&gt;&lt;m_msothmcolidx val=&quot;0&quot;/&gt;&lt;m_rgb r=&quot;FF&quot; g=&quot;E6&quot; b=&quot;00&quot;/&gt;&lt;/elem&gt;&lt;elem m_fUsage=&quot;1.89521386995712792789E+00&quot;&gt;&lt;m_msothmcolidx val=&quot;0&quot;/&gt;&lt;m_rgb r=&quot;F7&quot; g=&quot;DE&quot; b=&quot;00&quot;/&gt;&lt;/elem&gt;&lt;elem m_fUsage=&quot;1.28530443420133289045E+00&quot;&gt;&lt;m_msothmcolidx val=&quot;0&quot;/&gt;&lt;m_rgb r=&quot;C4&quot; g=&quot;C4&quot; b=&quot;CD&quot;/&gt;&lt;/elem&gt;&lt;elem m_fUsage=&quot;7.29830367303354488051E-01&quot;&gt;&lt;m_msothmcolidx val=&quot;0&quot;/&gt;&lt;m_rgb r=&quot;21&quot; g=&quot;6F&quot; b=&quot;C8&quot;/&gt;&lt;/elem&gt;&lt;elem m_fUsage=&quot;3.43814676986553754978E-02&quot;&gt;&lt;m_msothmcolidx val=&quot;0&quot;/&gt;&lt;m_rgb r=&quot;2E&quot; g=&quot;2E&quot; b=&quot;38&quot;/&gt;&lt;/elem&gt;&lt;elem m_fUsage=&quot;6.96198609130886550238E-04&quot;&gt;&lt;m_msothmcolidx val=&quot;0&quot;/&gt;&lt;m_rgb r=&quot;FF&quot; g=&quot;81&quot; b=&quot;0A&quot;/&gt;&lt;/elem&gt;&lt;elem m_fUsage=&quot;6.26578748217797862688E-04&quot;&gt;&lt;m_msothmcolidx val=&quot;0&quot;/&gt;&lt;m_rgb r=&quot;92&quot; g=&quot;2B&quot; b=&quot;73&quot;/&gt;&lt;/elem&gt;&lt;elem m_fUsage=&quot;4.11098316705697298425E-04&quot;&gt;&lt;m_msothmcolidx val=&quot;0&quot;/&gt;&lt;m_rgb r=&quot;37&quot; g=&quot;C7&quot; b=&quot;68&quot;/&gt;&lt;/elem&gt;&lt;elem m_fUsage=&quot;3.95282296942857239771E-04&quot;&gt;&lt;m_msothmcolidx val=&quot;0&quot;/&gt;&lt;m_rgb r=&quot;D8&quot; g=&quot;0C&quot; b=&quot;42&quot;/&gt;&lt;/elem&gt;&lt;elem m_fUsage=&quot;3.82754032911253652943E-04&quot;&gt;&lt;m_msothmcolidx val=&quot;0&quot;/&gt;&lt;m_rgb r=&quot;7C&quot; g=&quot;6B&quot; b=&quot;0E&quot;/&gt;&lt;/elem&gt;&lt;elem m_fUsage=&quot;3.71498839820656051331E-04&quot;&gt;&lt;m_msothmcolidx val=&quot;0&quot;/&gt;&lt;m_rgb r=&quot;74&quot; g=&quot;74&quot; b=&quot;80&quot;/&gt;&lt;/elem&gt;&lt;elem m_fUsage=&quot;2.69721605590608043933E-04&quot;&gt;&lt;m_msothmcolidx val=&quot;0&quot;/&gt;&lt;m_rgb r=&quot;54&quot; g=&quot;2E&quot; b=&quot;A5&quot;/&gt;&lt;/elem&gt;&lt;elem m_fUsage=&quot;1.93948105889816250396E-04&quot;&gt;&lt;m_msothmcolidx val=&quot;0&quot;/&gt;&lt;m_rgb r=&quot;2C&quot; g=&quot;97&quot; b=&quot;3E&quot;/&gt;&lt;/elem&gt;&lt;elem m_fUsage=&quot;1.05513244778329744146E-04&quot;&gt;&lt;m_msothmcolidx val=&quot;0&quot;/&gt;&lt;m_rgb r=&quot;E4&quot; g=&quot;1E&quot; b=&quot;2B&quot;/&gt;&lt;/elem&gt;&lt;elem m_fUsage=&quot;1.74269338101461915345E-05&quot;&gt;&lt;m_msothmcolidx val=&quot;14&quot;/&gt;&lt;/elem&gt;&lt;elem m_fUsage=&quot;2.68795714231969119684E-07&quot;&gt;&lt;m_msothmcolidx val=&quot;0&quot;/&gt;&lt;m_rgb r=&quot;D4&quot; g=&quot;AF&quot; b=&quot;37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fHjd55YjcM2nwdYr4Nv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h.vWrrmlySCBc9TtSQ3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fHjd55YjcM2nwdYr4Nv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h.vWrrmlySCBc9TtSQ3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fHjd55YjcM2nwdYr4Nv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h.vWrrmlySCBc9TtSQ3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fHjd55YjcM2nwdYr4Nv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h.vWrrmlySCBc9TtSQ3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fHjd55YjcM2nwdYr4Nv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h.vWrrmlySCBc9TtSQ3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LRUxGVOotIiiJ5XXNaR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fHjd55YjcM2nwdYr4Nv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h.vWrrmlySCBc9TtSQ3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fHjd55YjcM2nwdYr4Nv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h.vWrrmlySCBc9TtSQ3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fHjd55YjcM2nwdYr4Nv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h.vWrrmlySCBc9TtSQ3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fHjd55YjcM2nwdYr4Nv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h.vWrrmlySCBc9TtSQ3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5_7vlT2XqPL7SWvE0SVD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t_oHRtkHCh6wPpwUYo8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fHjd55YjcM2nwdYr4Nv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ENm5TyQdNPe8c.U4jnC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ENm5TyQdNPe8c.U4jnC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ereukyqCrneVk0OyGBw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74TUsEVcyvGhPdBNIeY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h.vWrrmlySCBc9TtSQ3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Y_standard_presentation_2019_LLC.potx" id="{1899EB45-9483-431B-9B45-823253E708EF}" vid="{D03A2472-146E-46C0-93ED-B9E7FCF99466}"/>
    </a:ext>
  </a:extLst>
</a:theme>
</file>

<file path=ppt/theme/theme10.xml><?xml version="1.0" encoding="utf-8"?>
<a:theme xmlns:a="http://schemas.openxmlformats.org/drawingml/2006/main" name="8_EY light background">
  <a:themeElements>
    <a:clrScheme name="Custom 26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Y_standard_presentation_2019_LLC.potx" id="{1899EB45-9483-431B-9B45-823253E708EF}" vid="{7F489496-9A76-44E3-8D1F-DB84E635DBF5}"/>
    </a:ext>
  </a:extLst>
</a:theme>
</file>

<file path=ppt/theme/theme11.xml><?xml version="1.0" encoding="utf-8"?>
<a:theme xmlns:a="http://schemas.openxmlformats.org/drawingml/2006/main" name="9_EY light background">
  <a:themeElements>
    <a:clrScheme name="Custom 26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Y_standard_presentation_2019_LLC.potx" id="{1899EB45-9483-431B-9B45-823253E708EF}" vid="{7F489496-9A76-44E3-8D1F-DB84E635DBF5}"/>
    </a:ext>
  </a:extLst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EY light background">
  <a:themeElements>
    <a:clrScheme name="Custom 26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Y_standard_presentation_2019_LLC.potx" id="{1899EB45-9483-431B-9B45-823253E708EF}" vid="{7F489496-9A76-44E3-8D1F-DB84E635DBF5}"/>
    </a:ext>
  </a:extLst>
</a:theme>
</file>

<file path=ppt/theme/theme3.xml><?xml version="1.0" encoding="utf-8"?>
<a:theme xmlns:a="http://schemas.openxmlformats.org/drawingml/2006/main" name="1_EY light background">
  <a:themeElements>
    <a:clrScheme name="Custom 26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Y_standard_presentation_2019_LLC.potx" id="{1899EB45-9483-431B-9B45-823253E708EF}" vid="{7F489496-9A76-44E3-8D1F-DB84E635DBF5}"/>
    </a:ext>
  </a:extLst>
</a:theme>
</file>

<file path=ppt/theme/theme4.xml><?xml version="1.0" encoding="utf-8"?>
<a:theme xmlns:a="http://schemas.openxmlformats.org/drawingml/2006/main" name="2_EY light background">
  <a:themeElements>
    <a:clrScheme name="Custom 26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Y_standard_presentation_2019_LLC.potx" id="{1899EB45-9483-431B-9B45-823253E708EF}" vid="{7F489496-9A76-44E3-8D1F-DB84E635DBF5}"/>
    </a:ext>
  </a:extLst>
</a:theme>
</file>

<file path=ppt/theme/theme5.xml><?xml version="1.0" encoding="utf-8"?>
<a:theme xmlns:a="http://schemas.openxmlformats.org/drawingml/2006/main" name="3_EY light background">
  <a:themeElements>
    <a:clrScheme name="Custom 26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Y_standard_presentation_2019_LLC.potx" id="{1899EB45-9483-431B-9B45-823253E708EF}" vid="{7F489496-9A76-44E3-8D1F-DB84E635DBF5}"/>
    </a:ext>
  </a:extLst>
</a:theme>
</file>

<file path=ppt/theme/theme6.xml><?xml version="1.0" encoding="utf-8"?>
<a:theme xmlns:a="http://schemas.openxmlformats.org/drawingml/2006/main" name="4_EY light background">
  <a:themeElements>
    <a:clrScheme name="Custom 26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Y_standard_presentation_2019_LLC.potx" id="{1899EB45-9483-431B-9B45-823253E708EF}" vid="{7F489496-9A76-44E3-8D1F-DB84E635DBF5}"/>
    </a:ext>
  </a:extLst>
</a:theme>
</file>

<file path=ppt/theme/theme7.xml><?xml version="1.0" encoding="utf-8"?>
<a:theme xmlns:a="http://schemas.openxmlformats.org/drawingml/2006/main" name="5_EY light background">
  <a:themeElements>
    <a:clrScheme name="Custom 26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Y_standard_presentation_2019_LLC.potx" id="{1899EB45-9483-431B-9B45-823253E708EF}" vid="{7F489496-9A76-44E3-8D1F-DB84E635DBF5}"/>
    </a:ext>
  </a:extLst>
</a:theme>
</file>

<file path=ppt/theme/theme8.xml><?xml version="1.0" encoding="utf-8"?>
<a:theme xmlns:a="http://schemas.openxmlformats.org/drawingml/2006/main" name="6_EY light background">
  <a:themeElements>
    <a:clrScheme name="Custom 26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Y_standard_presentation_2019_LLC.potx" id="{1899EB45-9483-431B-9B45-823253E708EF}" vid="{7F489496-9A76-44E3-8D1F-DB84E635DBF5}"/>
    </a:ext>
  </a:extLst>
</a:theme>
</file>

<file path=ppt/theme/theme9.xml><?xml version="1.0" encoding="utf-8"?>
<a:theme xmlns:a="http://schemas.openxmlformats.org/drawingml/2006/main" name="7_EY light background">
  <a:themeElements>
    <a:clrScheme name="Custom 26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Y_standard_presentation_2019_LLC.potx" id="{1899EB45-9483-431B-9B45-823253E708EF}" vid="{7F489496-9A76-44E3-8D1F-DB84E635DBF5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9B2DA7903386924D924149BEFB083438" ma:contentTypeVersion="8" ma:contentTypeDescription="Создание документа." ma:contentTypeScope="" ma:versionID="5990700c0d9c721ecc3f1bd81f303503">
  <xsd:schema xmlns:xsd="http://www.w3.org/2001/XMLSchema" xmlns:xs="http://www.w3.org/2001/XMLSchema" xmlns:p="http://schemas.microsoft.com/office/2006/metadata/properties" xmlns:ns2="ce848b26-46e2-409b-b925-63c1faea1f66" targetNamespace="http://schemas.microsoft.com/office/2006/metadata/properties" ma:root="true" ma:fieldsID="7cc916e9cbf5e1c0e1484aac039c4988" ns2:_="">
    <xsd:import namespace="ce848b26-46e2-409b-b925-63c1faea1f6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e848b26-46e2-409b-b925-63c1faea1f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86C3933-768F-49DD-B9B3-DD17CD1C987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707A217-0F15-4F5F-A975-6357A7C0BFB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e848b26-46e2-409b-b925-63c1faea1f6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C0AFEAE-5326-42D0-B575-562A5126E7EB}">
  <ds:schemaRefs>
    <ds:schemaRef ds:uri="http://purl.org/dc/elements/1.1/"/>
    <ds:schemaRef ds:uri="http://schemas.microsoft.com/office/2006/metadata/properties"/>
    <ds:schemaRef ds:uri="ce848b26-46e2-409b-b925-63c1faea1f66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Props/CustomMKOP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KProdID">
    <vt:lpwstr>ZMOutlook</vt:lpwstr>
  </property>
  <property fmtid="{D5CDD505-2E9C-101B-9397-08002B2CF9AE}" pid="3" name="SizeBefore">
    <vt:lpwstr>2951459</vt:lpwstr>
  </property>
  <property fmtid="{D5CDD505-2E9C-101B-9397-08002B2CF9AE}" pid="4" name="OptimizationTime">
    <vt:lpwstr>20211018_2036</vt:lpwstr>
  </property>
</Properties>
</file>

<file path=docProps/app.xml><?xml version="1.0" encoding="utf-8"?>
<Properties xmlns="http://schemas.openxmlformats.org/officeDocument/2006/extended-properties" xmlns:vt="http://schemas.openxmlformats.org/officeDocument/2006/docPropsVTypes">
  <Template>EY_standard_presentation_2019_LLC</Template>
  <TotalTime>0</TotalTime>
  <Words>1393</Words>
  <Application>Microsoft Office PowerPoint</Application>
  <PresentationFormat>On-screen Show (4:3)</PresentationFormat>
  <Paragraphs>145</Paragraphs>
  <Slides>11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30" baseType="lpstr">
      <vt:lpstr>Arial</vt:lpstr>
      <vt:lpstr>Calibri</vt:lpstr>
      <vt:lpstr>EYInterstate</vt:lpstr>
      <vt:lpstr>EYInterstate Light</vt:lpstr>
      <vt:lpstr>EYInterstate-Light</vt:lpstr>
      <vt:lpstr>Georgia</vt:lpstr>
      <vt:lpstr>Wingdings</vt:lpstr>
      <vt:lpstr>EY dark background</vt:lpstr>
      <vt:lpstr>EY light background</vt:lpstr>
      <vt:lpstr>1_EY light background</vt:lpstr>
      <vt:lpstr>2_EY light background</vt:lpstr>
      <vt:lpstr>3_EY light background</vt:lpstr>
      <vt:lpstr>4_EY light background</vt:lpstr>
      <vt:lpstr>5_EY light background</vt:lpstr>
      <vt:lpstr>6_EY light background</vt:lpstr>
      <vt:lpstr>7_EY light background</vt:lpstr>
      <vt:lpstr>8_EY light background</vt:lpstr>
      <vt:lpstr>9_EY light background</vt:lpstr>
      <vt:lpstr>think-cell Slide</vt:lpstr>
      <vt:lpstr>Налогообложение золотодобывающей отрасли: проблемы и решения</vt:lpstr>
      <vt:lpstr>PowerPoint Presentation</vt:lpstr>
      <vt:lpstr>Текущая ситуация </vt:lpstr>
      <vt:lpstr>Текущая ситуация (продолжение)</vt:lpstr>
      <vt:lpstr>Максимизация налоговых поступлений в бюджет</vt:lpstr>
      <vt:lpstr>Коэффициент налоговой нагрузки</vt:lpstr>
      <vt:lpstr>Для повышения инвестиционной привлекательности отрасли требуется улучшение фискального режима…</vt:lpstr>
      <vt:lpstr>Принцип выбора налоговых мер стимулирования</vt:lpstr>
      <vt:lpstr>Налоговые меры стимулирования отрасли Период геологоразведки</vt:lpstr>
      <vt:lpstr>Налоговые меры стимулирования отрасли Период добычи/ переработки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тимулирование развития золотодобывающей отрасли Казахстана</dc:title>
  <dc:creator/>
  <cp:keywords/>
  <cp:lastModifiedBy/>
  <cp:revision>42</cp:revision>
  <dcterms:created xsi:type="dcterms:W3CDTF">2020-08-21T07:04:06Z</dcterms:created>
  <dcterms:modified xsi:type="dcterms:W3CDTF">2021-10-18T14:14:05Z</dcterms:modified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B2DA7903386924D924149BEFB083438</vt:lpwstr>
  </property>
</Properties>
</file>